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2145707330" r:id="rId2"/>
    <p:sldId id="2145707340" r:id="rId3"/>
    <p:sldId id="2145707356" r:id="rId4"/>
    <p:sldId id="2145707397" r:id="rId5"/>
    <p:sldId id="2145707085" r:id="rId6"/>
    <p:sldId id="2145707094" r:id="rId7"/>
    <p:sldId id="2145706813" r:id="rId8"/>
    <p:sldId id="2145707115" r:id="rId9"/>
    <p:sldId id="2145707327" r:id="rId10"/>
    <p:sldId id="2145707328" r:id="rId11"/>
    <p:sldId id="288" r:id="rId12"/>
    <p:sldId id="2145706878" r:id="rId13"/>
    <p:sldId id="2145706893" r:id="rId14"/>
    <p:sldId id="2145706892" r:id="rId15"/>
    <p:sldId id="2145706894" r:id="rId16"/>
    <p:sldId id="2145706897" r:id="rId17"/>
    <p:sldId id="2145706896" r:id="rId18"/>
    <p:sldId id="2145706886" r:id="rId19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525C2F-6B56-4F53-A3D3-4AC2B551DA50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04A93088-4963-4D08-8500-4D97A182BFB3}">
      <dgm:prSet custT="1"/>
      <dgm:spPr/>
      <dgm:t>
        <a:bodyPr/>
        <a:lstStyle/>
        <a:p>
          <a:r>
            <a:rPr lang="fi-FI" sz="2800" dirty="0">
              <a:latin typeface="Arial" panose="020B0604020202020204" pitchFamily="34" charset="0"/>
              <a:cs typeface="Arial" panose="020B0604020202020204" pitchFamily="34" charset="0"/>
            </a:rPr>
            <a:t>Aluehallitus 9.10.2023</a:t>
          </a:r>
        </a:p>
      </dgm:t>
    </dgm:pt>
    <dgm:pt modelId="{DE3F8839-D77D-4205-905B-D25C0B17516B}" type="parTrans" cxnId="{B9A11A01-0224-49B8-9587-23EA549C8343}">
      <dgm:prSet/>
      <dgm:spPr/>
      <dgm:t>
        <a:bodyPr/>
        <a:lstStyle/>
        <a:p>
          <a:endParaRPr lang="fi-FI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50911C-402F-494B-9910-BF95AF46EF79}" type="sibTrans" cxnId="{B9A11A01-0224-49B8-9587-23EA549C8343}">
      <dgm:prSet/>
      <dgm:spPr/>
      <dgm:t>
        <a:bodyPr/>
        <a:lstStyle/>
        <a:p>
          <a:endParaRPr lang="fi-FI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06C4B20-A324-48A5-975F-6792C330FAF5}">
      <dgm:prSet custT="1"/>
      <dgm:spPr/>
      <dgm:t>
        <a:bodyPr/>
        <a:lstStyle/>
        <a:p>
          <a:r>
            <a:rPr lang="fi-FI" sz="2800" b="0" dirty="0">
              <a:latin typeface="Arial" panose="020B0604020202020204" pitchFamily="34" charset="0"/>
              <a:cs typeface="Arial" panose="020B0604020202020204" pitchFamily="34" charset="0"/>
            </a:rPr>
            <a:t>Aluevaltuusto 14.8.2023 </a:t>
          </a:r>
        </a:p>
      </dgm:t>
    </dgm:pt>
    <dgm:pt modelId="{3D8B620C-6DBE-4801-A669-E5355697ECD2}" type="sibTrans" cxnId="{EDD49378-3846-4FEF-96C7-B07146D6272F}">
      <dgm:prSet/>
      <dgm:spPr/>
      <dgm:t>
        <a:bodyPr/>
        <a:lstStyle/>
        <a:p>
          <a:endParaRPr lang="fi-FI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CAF221-C240-40F9-9D32-790DB02E7220}" type="parTrans" cxnId="{EDD49378-3846-4FEF-96C7-B07146D6272F}">
      <dgm:prSet/>
      <dgm:spPr/>
      <dgm:t>
        <a:bodyPr/>
        <a:lstStyle/>
        <a:p>
          <a:endParaRPr lang="fi-FI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C1291C-B29F-4F24-8E5C-B81F88EFE31C}">
      <dgm:prSet custT="1"/>
      <dgm:spPr/>
      <dgm:t>
        <a:bodyPr/>
        <a:lstStyle/>
        <a:p>
          <a:r>
            <a:rPr lang="fi-FI" sz="2800" dirty="0">
              <a:latin typeface="Arial" panose="020B0604020202020204" pitchFamily="34" charset="0"/>
              <a:cs typeface="Arial" panose="020B0604020202020204" pitchFamily="34" charset="0"/>
            </a:rPr>
            <a:t>Aluehallitus 11.9.2023</a:t>
          </a:r>
        </a:p>
      </dgm:t>
    </dgm:pt>
    <dgm:pt modelId="{F88FF63D-CCAE-4E90-BBC1-C62224C55A70}" type="parTrans" cxnId="{67505CC9-2947-4C91-BDC3-90933350A4A3}">
      <dgm:prSet/>
      <dgm:spPr/>
      <dgm:t>
        <a:bodyPr/>
        <a:lstStyle/>
        <a:p>
          <a:endParaRPr lang="fi-FI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DAD5690-26B4-4451-A770-33ED9558C7CC}" type="sibTrans" cxnId="{67505CC9-2947-4C91-BDC3-90933350A4A3}">
      <dgm:prSet/>
      <dgm:spPr/>
      <dgm:t>
        <a:bodyPr/>
        <a:lstStyle/>
        <a:p>
          <a:endParaRPr lang="fi-FI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DA8E28-6D81-4489-BC49-7B90F41C56B8}">
      <dgm:prSet/>
      <dgm:spPr/>
      <dgm:t>
        <a:bodyPr/>
        <a:lstStyle/>
        <a:p>
          <a:r>
            <a:rPr lang="fi-FI" dirty="0"/>
            <a:t>Aluevaltuusto 6.11.2023</a:t>
          </a:r>
        </a:p>
      </dgm:t>
    </dgm:pt>
    <dgm:pt modelId="{CE4A66BB-ED7D-4D03-BE8E-A5FE537143AE}" type="parTrans" cxnId="{77BC87A6-BD81-4463-9917-0DE9AE0D8B5D}">
      <dgm:prSet/>
      <dgm:spPr/>
      <dgm:t>
        <a:bodyPr/>
        <a:lstStyle/>
        <a:p>
          <a:endParaRPr lang="fi-FI"/>
        </a:p>
      </dgm:t>
    </dgm:pt>
    <dgm:pt modelId="{3B2EF209-AF22-4DFE-91D7-C54575FAE6E1}" type="sibTrans" cxnId="{77BC87A6-BD81-4463-9917-0DE9AE0D8B5D}">
      <dgm:prSet/>
      <dgm:spPr/>
      <dgm:t>
        <a:bodyPr/>
        <a:lstStyle/>
        <a:p>
          <a:endParaRPr lang="fi-FI"/>
        </a:p>
      </dgm:t>
    </dgm:pt>
    <dgm:pt modelId="{166F8BB8-CF74-43DA-9601-B1EB0C1498BA}" type="pres">
      <dgm:prSet presAssocID="{43525C2F-6B56-4F53-A3D3-4AC2B551DA50}" presName="Name0" presStyleCnt="0">
        <dgm:presLayoutVars>
          <dgm:dir/>
          <dgm:resizeHandles val="exact"/>
        </dgm:presLayoutVars>
      </dgm:prSet>
      <dgm:spPr/>
    </dgm:pt>
    <dgm:pt modelId="{DB7319B3-B36F-4E4D-99C6-6FE99E0792EB}" type="pres">
      <dgm:prSet presAssocID="{C06C4B20-A324-48A5-975F-6792C330FAF5}" presName="parTxOnly" presStyleLbl="node1" presStyleIdx="0" presStyleCnt="4" custScaleX="84413" custLinFactNeighborX="-1451" custLinFactNeighborY="-1338">
        <dgm:presLayoutVars>
          <dgm:bulletEnabled val="1"/>
        </dgm:presLayoutVars>
      </dgm:prSet>
      <dgm:spPr/>
    </dgm:pt>
    <dgm:pt modelId="{213B3E91-54D1-40D5-B43D-12507913EC17}" type="pres">
      <dgm:prSet presAssocID="{3D8B620C-6DBE-4801-A669-E5355697ECD2}" presName="parSpace" presStyleCnt="0"/>
      <dgm:spPr/>
    </dgm:pt>
    <dgm:pt modelId="{7E93FBBB-247E-4709-8A1D-2D75BE20FA80}" type="pres">
      <dgm:prSet presAssocID="{7FC1291C-B29F-4F24-8E5C-B81F88EFE31C}" presName="parTxOnly" presStyleLbl="node1" presStyleIdx="1" presStyleCnt="4" custScaleX="119484">
        <dgm:presLayoutVars>
          <dgm:bulletEnabled val="1"/>
        </dgm:presLayoutVars>
      </dgm:prSet>
      <dgm:spPr/>
    </dgm:pt>
    <dgm:pt modelId="{60AFF6A2-3C08-4401-BC1F-785022ACD9BE}" type="pres">
      <dgm:prSet presAssocID="{2DAD5690-26B4-4451-A770-33ED9558C7CC}" presName="parSpace" presStyleCnt="0"/>
      <dgm:spPr/>
    </dgm:pt>
    <dgm:pt modelId="{67C3148A-8D0B-4F8F-BC62-966545887F3C}" type="pres">
      <dgm:prSet presAssocID="{04A93088-4963-4D08-8500-4D97A182BFB3}" presName="parTxOnly" presStyleLbl="node1" presStyleIdx="2" presStyleCnt="4" custScaleX="98928">
        <dgm:presLayoutVars>
          <dgm:bulletEnabled val="1"/>
        </dgm:presLayoutVars>
      </dgm:prSet>
      <dgm:spPr/>
    </dgm:pt>
    <dgm:pt modelId="{969AAEE0-DB39-4391-BF07-70FD8672CEBD}" type="pres">
      <dgm:prSet presAssocID="{1950911C-402F-494B-9910-BF95AF46EF79}" presName="parSpace" presStyleCnt="0"/>
      <dgm:spPr/>
    </dgm:pt>
    <dgm:pt modelId="{924088CD-CA59-45FC-90C2-143F91E4927F}" type="pres">
      <dgm:prSet presAssocID="{E2DA8E28-6D81-4489-BC49-7B90F41C56B8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B9A11A01-0224-49B8-9587-23EA549C8343}" srcId="{43525C2F-6B56-4F53-A3D3-4AC2B551DA50}" destId="{04A93088-4963-4D08-8500-4D97A182BFB3}" srcOrd="2" destOrd="0" parTransId="{DE3F8839-D77D-4205-905B-D25C0B17516B}" sibTransId="{1950911C-402F-494B-9910-BF95AF46EF79}"/>
    <dgm:cxn modelId="{288FDE09-799C-43FA-92FC-CDC7E80D90ED}" type="presOf" srcId="{04A93088-4963-4D08-8500-4D97A182BFB3}" destId="{67C3148A-8D0B-4F8F-BC62-966545887F3C}" srcOrd="0" destOrd="0" presId="urn:microsoft.com/office/officeart/2005/8/layout/hChevron3"/>
    <dgm:cxn modelId="{EDD49378-3846-4FEF-96C7-B07146D6272F}" srcId="{43525C2F-6B56-4F53-A3D3-4AC2B551DA50}" destId="{C06C4B20-A324-48A5-975F-6792C330FAF5}" srcOrd="0" destOrd="0" parTransId="{77CAF221-C240-40F9-9D32-790DB02E7220}" sibTransId="{3D8B620C-6DBE-4801-A669-E5355697ECD2}"/>
    <dgm:cxn modelId="{4E18F685-07DC-4B0B-BBFF-7F0B4675EFAC}" type="presOf" srcId="{7FC1291C-B29F-4F24-8E5C-B81F88EFE31C}" destId="{7E93FBBB-247E-4709-8A1D-2D75BE20FA80}" srcOrd="0" destOrd="0" presId="urn:microsoft.com/office/officeart/2005/8/layout/hChevron3"/>
    <dgm:cxn modelId="{AE98AD88-460B-4E7B-9504-DD5FEAF32A80}" type="presOf" srcId="{C06C4B20-A324-48A5-975F-6792C330FAF5}" destId="{DB7319B3-B36F-4E4D-99C6-6FE99E0792EB}" srcOrd="0" destOrd="0" presId="urn:microsoft.com/office/officeart/2005/8/layout/hChevron3"/>
    <dgm:cxn modelId="{62F17290-8B5A-40BF-BAEF-E589B078B89C}" type="presOf" srcId="{E2DA8E28-6D81-4489-BC49-7B90F41C56B8}" destId="{924088CD-CA59-45FC-90C2-143F91E4927F}" srcOrd="0" destOrd="0" presId="urn:microsoft.com/office/officeart/2005/8/layout/hChevron3"/>
    <dgm:cxn modelId="{1D82BAA4-607C-4D29-BAD2-071BF1B6DDB4}" type="presOf" srcId="{43525C2F-6B56-4F53-A3D3-4AC2B551DA50}" destId="{166F8BB8-CF74-43DA-9601-B1EB0C1498BA}" srcOrd="0" destOrd="0" presId="urn:microsoft.com/office/officeart/2005/8/layout/hChevron3"/>
    <dgm:cxn modelId="{77BC87A6-BD81-4463-9917-0DE9AE0D8B5D}" srcId="{43525C2F-6B56-4F53-A3D3-4AC2B551DA50}" destId="{E2DA8E28-6D81-4489-BC49-7B90F41C56B8}" srcOrd="3" destOrd="0" parTransId="{CE4A66BB-ED7D-4D03-BE8E-A5FE537143AE}" sibTransId="{3B2EF209-AF22-4DFE-91D7-C54575FAE6E1}"/>
    <dgm:cxn modelId="{67505CC9-2947-4C91-BDC3-90933350A4A3}" srcId="{43525C2F-6B56-4F53-A3D3-4AC2B551DA50}" destId="{7FC1291C-B29F-4F24-8E5C-B81F88EFE31C}" srcOrd="1" destOrd="0" parTransId="{F88FF63D-CCAE-4E90-BBC1-C62224C55A70}" sibTransId="{2DAD5690-26B4-4451-A770-33ED9558C7CC}"/>
    <dgm:cxn modelId="{4E72FDFA-F861-4B32-9D22-B3D8FD6FA78C}" type="presParOf" srcId="{166F8BB8-CF74-43DA-9601-B1EB0C1498BA}" destId="{DB7319B3-B36F-4E4D-99C6-6FE99E0792EB}" srcOrd="0" destOrd="0" presId="urn:microsoft.com/office/officeart/2005/8/layout/hChevron3"/>
    <dgm:cxn modelId="{09D52AF1-185B-4DA9-A935-FAE788E54540}" type="presParOf" srcId="{166F8BB8-CF74-43DA-9601-B1EB0C1498BA}" destId="{213B3E91-54D1-40D5-B43D-12507913EC17}" srcOrd="1" destOrd="0" presId="urn:microsoft.com/office/officeart/2005/8/layout/hChevron3"/>
    <dgm:cxn modelId="{86B78308-CB09-4B24-9775-75E46954D630}" type="presParOf" srcId="{166F8BB8-CF74-43DA-9601-B1EB0C1498BA}" destId="{7E93FBBB-247E-4709-8A1D-2D75BE20FA80}" srcOrd="2" destOrd="0" presId="urn:microsoft.com/office/officeart/2005/8/layout/hChevron3"/>
    <dgm:cxn modelId="{2374B52C-8959-43EA-BAAF-BD92F5682C48}" type="presParOf" srcId="{166F8BB8-CF74-43DA-9601-B1EB0C1498BA}" destId="{60AFF6A2-3C08-4401-BC1F-785022ACD9BE}" srcOrd="3" destOrd="0" presId="urn:microsoft.com/office/officeart/2005/8/layout/hChevron3"/>
    <dgm:cxn modelId="{54F6C179-D775-4EE2-8CFB-161F020480BA}" type="presParOf" srcId="{166F8BB8-CF74-43DA-9601-B1EB0C1498BA}" destId="{67C3148A-8D0B-4F8F-BC62-966545887F3C}" srcOrd="4" destOrd="0" presId="urn:microsoft.com/office/officeart/2005/8/layout/hChevron3"/>
    <dgm:cxn modelId="{01A5FB7F-14F5-456B-A290-8119ABE42E93}" type="presParOf" srcId="{166F8BB8-CF74-43DA-9601-B1EB0C1498BA}" destId="{969AAEE0-DB39-4391-BF07-70FD8672CEBD}" srcOrd="5" destOrd="0" presId="urn:microsoft.com/office/officeart/2005/8/layout/hChevron3"/>
    <dgm:cxn modelId="{ACF2C66C-DE33-4670-8C5A-4FF885056776}" type="presParOf" srcId="{166F8BB8-CF74-43DA-9601-B1EB0C1498BA}" destId="{924088CD-CA59-45FC-90C2-143F91E4927F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2E9E566-A568-4AE0-A721-E20D07DE693C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i-FI"/>
        </a:p>
      </dgm:t>
    </dgm:pt>
    <dgm:pt modelId="{E7FE87BE-2A0F-49A9-B0F6-63C7740C08B8}">
      <dgm:prSet phldrT="[Teksti]"/>
      <dgm:spPr>
        <a:solidFill>
          <a:srgbClr val="CCFFCC">
            <a:alpha val="50000"/>
          </a:srgbClr>
        </a:solidFill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fi-FI" b="1" dirty="0"/>
            <a:t>Pirkanmaan alueellinen hyvinvointikertomus ja -suunnitelma</a:t>
          </a:r>
        </a:p>
      </dgm:t>
    </dgm:pt>
    <dgm:pt modelId="{1EFC3833-CD45-4506-9230-92BA00CFF34F}" type="parTrans" cxnId="{3E837DF1-2D27-4E37-914A-5A41BFF47D6A}">
      <dgm:prSet/>
      <dgm:spPr/>
      <dgm:t>
        <a:bodyPr/>
        <a:lstStyle/>
        <a:p>
          <a:endParaRPr lang="fi-FI"/>
        </a:p>
      </dgm:t>
    </dgm:pt>
    <dgm:pt modelId="{BDD65844-A133-4E85-B1BE-06012F07FC7E}" type="sibTrans" cxnId="{3E837DF1-2D27-4E37-914A-5A41BFF47D6A}">
      <dgm:prSet/>
      <dgm:spPr/>
      <dgm:t>
        <a:bodyPr/>
        <a:lstStyle/>
        <a:p>
          <a:endParaRPr lang="fi-FI"/>
        </a:p>
      </dgm:t>
    </dgm:pt>
    <dgm:pt modelId="{39D1F1C4-5D07-4818-B9EA-24088FC7D385}">
      <dgm:prSet phldrT="[Teksti]" custT="1"/>
      <dgm:spPr>
        <a:solidFill>
          <a:schemeClr val="tx2">
            <a:lumMod val="20000"/>
            <a:lumOff val="80000"/>
            <a:alpha val="50000"/>
          </a:schemeClr>
        </a:solidFill>
        <a:ln>
          <a:solidFill>
            <a:schemeClr val="tx2">
              <a:lumMod val="60000"/>
              <a:lumOff val="40000"/>
            </a:schemeClr>
          </a:solidFill>
        </a:ln>
      </dgm:spPr>
      <dgm:t>
        <a:bodyPr/>
        <a:lstStyle/>
        <a:p>
          <a:r>
            <a:rPr lang="fi-FI" sz="900" b="1" dirty="0"/>
            <a:t>Alueellinen lasten ja nuorten hyvinvointi-suunnitelma</a:t>
          </a:r>
        </a:p>
      </dgm:t>
    </dgm:pt>
    <dgm:pt modelId="{EA1E22C4-EFF7-40B3-AC92-D27FDE334C75}" type="parTrans" cxnId="{CDDACFBB-2A60-45C9-8C02-D989417B676B}">
      <dgm:prSet/>
      <dgm:spPr/>
      <dgm:t>
        <a:bodyPr/>
        <a:lstStyle/>
        <a:p>
          <a:endParaRPr lang="fi-FI"/>
        </a:p>
      </dgm:t>
    </dgm:pt>
    <dgm:pt modelId="{B67D23E0-C7A5-4CAC-AF8E-0E4345B46A24}" type="sibTrans" cxnId="{CDDACFBB-2A60-45C9-8C02-D989417B676B}">
      <dgm:prSet/>
      <dgm:spPr/>
      <dgm:t>
        <a:bodyPr/>
        <a:lstStyle/>
        <a:p>
          <a:endParaRPr lang="fi-FI"/>
        </a:p>
      </dgm:t>
    </dgm:pt>
    <dgm:pt modelId="{DBFD7ED2-76D5-4DBB-8D0D-1DA5C4718709}">
      <dgm:prSet phldrT="[Teksti]" custT="1"/>
      <dgm:spPr>
        <a:solidFill>
          <a:schemeClr val="accent3">
            <a:lumMod val="40000"/>
            <a:lumOff val="60000"/>
            <a:alpha val="50000"/>
          </a:schemeClr>
        </a:solidFill>
        <a:ln>
          <a:solidFill>
            <a:schemeClr val="accent2">
              <a:lumMod val="60000"/>
              <a:lumOff val="40000"/>
            </a:schemeClr>
          </a:solidFill>
        </a:ln>
      </dgm:spPr>
      <dgm:t>
        <a:bodyPr/>
        <a:lstStyle/>
        <a:p>
          <a:r>
            <a:rPr lang="fi-FI" sz="900" b="1" dirty="0"/>
            <a:t>Alueellinen neuvola-suunnitelma</a:t>
          </a:r>
        </a:p>
      </dgm:t>
    </dgm:pt>
    <dgm:pt modelId="{3FAA49A8-EE78-4938-8232-47BCA9ECE61A}" type="parTrans" cxnId="{A476A2AA-2117-42BF-9425-83F93204214E}">
      <dgm:prSet/>
      <dgm:spPr/>
      <dgm:t>
        <a:bodyPr/>
        <a:lstStyle/>
        <a:p>
          <a:endParaRPr lang="fi-FI"/>
        </a:p>
      </dgm:t>
    </dgm:pt>
    <dgm:pt modelId="{8C327C45-66CF-465D-8D4E-4DEB059F062D}" type="sibTrans" cxnId="{A476A2AA-2117-42BF-9425-83F93204214E}">
      <dgm:prSet/>
      <dgm:spPr/>
      <dgm:t>
        <a:bodyPr/>
        <a:lstStyle/>
        <a:p>
          <a:endParaRPr lang="fi-FI"/>
        </a:p>
      </dgm:t>
    </dgm:pt>
    <dgm:pt modelId="{FEB4A763-1CEA-4D4D-8205-1500E869D96D}">
      <dgm:prSet phldrT="[Teksti]" custT="1"/>
      <dgm:spPr>
        <a:solidFill>
          <a:schemeClr val="accent2">
            <a:lumMod val="40000"/>
            <a:lumOff val="60000"/>
            <a:alpha val="50000"/>
          </a:schemeClr>
        </a:solidFill>
        <a:ln>
          <a:solidFill>
            <a:srgbClr val="FFC000"/>
          </a:solidFill>
        </a:ln>
      </dgm:spPr>
      <dgm:t>
        <a:bodyPr/>
        <a:lstStyle/>
        <a:p>
          <a:r>
            <a:rPr lang="fi-FI" sz="900" b="1" dirty="0"/>
            <a:t>Alueellinen opiskeluhuoltosuunnitelma</a:t>
          </a:r>
        </a:p>
      </dgm:t>
    </dgm:pt>
    <dgm:pt modelId="{6FB6B2DA-9ACA-42E2-A784-1EF4255E228A}" type="parTrans" cxnId="{9DBEEC9B-2794-4D37-ABFD-B0FB04879188}">
      <dgm:prSet/>
      <dgm:spPr/>
      <dgm:t>
        <a:bodyPr/>
        <a:lstStyle/>
        <a:p>
          <a:endParaRPr lang="fi-FI"/>
        </a:p>
      </dgm:t>
    </dgm:pt>
    <dgm:pt modelId="{19D7FAA9-1448-4B4B-9C81-435124F107F5}" type="sibTrans" cxnId="{9DBEEC9B-2794-4D37-ABFD-B0FB04879188}">
      <dgm:prSet/>
      <dgm:spPr/>
      <dgm:t>
        <a:bodyPr/>
        <a:lstStyle/>
        <a:p>
          <a:endParaRPr lang="fi-FI"/>
        </a:p>
      </dgm:t>
    </dgm:pt>
    <dgm:pt modelId="{70C09BD4-6CB5-47BB-9459-B3C32ABE3871}">
      <dgm:prSet phldrT="[Teksti]" custT="1"/>
      <dgm:spPr>
        <a:solidFill>
          <a:schemeClr val="bg1">
            <a:lumMod val="75000"/>
            <a:alpha val="50000"/>
          </a:schemeClr>
        </a:solidFill>
        <a:ln>
          <a:solidFill>
            <a:schemeClr val="bg1">
              <a:lumMod val="50000"/>
            </a:schemeClr>
          </a:solidFill>
        </a:ln>
      </dgm:spPr>
      <dgm:t>
        <a:bodyPr/>
        <a:lstStyle/>
        <a:p>
          <a:r>
            <a:rPr lang="fi-FI" sz="900" b="1" dirty="0"/>
            <a:t>Alueellinen ikäihmisten hyvinvointi-suunnitelma</a:t>
          </a:r>
        </a:p>
      </dgm:t>
    </dgm:pt>
    <dgm:pt modelId="{D39320C5-16B3-4900-AD41-D0B31813D27B}" type="parTrans" cxnId="{F17FA954-3E7E-41D5-A101-6F79EFB68F0F}">
      <dgm:prSet/>
      <dgm:spPr/>
      <dgm:t>
        <a:bodyPr/>
        <a:lstStyle/>
        <a:p>
          <a:endParaRPr lang="fi-FI"/>
        </a:p>
      </dgm:t>
    </dgm:pt>
    <dgm:pt modelId="{BE5252E3-9BD5-4984-BA37-355B64537636}" type="sibTrans" cxnId="{F17FA954-3E7E-41D5-A101-6F79EFB68F0F}">
      <dgm:prSet/>
      <dgm:spPr/>
      <dgm:t>
        <a:bodyPr/>
        <a:lstStyle/>
        <a:p>
          <a:endParaRPr lang="fi-FI"/>
        </a:p>
      </dgm:t>
    </dgm:pt>
    <dgm:pt modelId="{2E5CEF69-DDEE-40AF-B743-FFB52E8AB539}">
      <dgm:prSet phldrT="[Teksti]" custT="1"/>
      <dgm:spPr>
        <a:solidFill>
          <a:schemeClr val="accent6">
            <a:lumMod val="40000"/>
            <a:lumOff val="60000"/>
            <a:alpha val="50000"/>
          </a:schemeClr>
        </a:solidFill>
        <a:ln>
          <a:solidFill>
            <a:schemeClr val="accent6">
              <a:lumMod val="75000"/>
            </a:schemeClr>
          </a:solidFill>
        </a:ln>
      </dgm:spPr>
      <dgm:t>
        <a:bodyPr/>
        <a:lstStyle/>
        <a:p>
          <a:r>
            <a:rPr lang="fi-FI" sz="900" b="1" dirty="0"/>
            <a:t>Alueellinen ehkäisevän päihdetyön suunnitelma</a:t>
          </a:r>
        </a:p>
      </dgm:t>
    </dgm:pt>
    <dgm:pt modelId="{D2BB421F-B369-41CF-8675-86B48C323C17}" type="parTrans" cxnId="{CED2BE45-B28A-46BA-9D7E-C6F48401E79A}">
      <dgm:prSet/>
      <dgm:spPr/>
      <dgm:t>
        <a:bodyPr/>
        <a:lstStyle/>
        <a:p>
          <a:endParaRPr lang="fi-FI"/>
        </a:p>
      </dgm:t>
    </dgm:pt>
    <dgm:pt modelId="{A1AEA270-7952-4F6A-9616-D55232F18577}" type="sibTrans" cxnId="{CED2BE45-B28A-46BA-9D7E-C6F48401E79A}">
      <dgm:prSet/>
      <dgm:spPr/>
      <dgm:t>
        <a:bodyPr/>
        <a:lstStyle/>
        <a:p>
          <a:endParaRPr lang="fi-FI"/>
        </a:p>
      </dgm:t>
    </dgm:pt>
    <dgm:pt modelId="{001E14CA-820D-4821-85A3-14B7145ED2AB}" type="pres">
      <dgm:prSet presAssocID="{02E9E566-A568-4AE0-A721-E20D07DE693C}" presName="composite" presStyleCnt="0">
        <dgm:presLayoutVars>
          <dgm:chMax val="1"/>
          <dgm:dir/>
          <dgm:resizeHandles val="exact"/>
        </dgm:presLayoutVars>
      </dgm:prSet>
      <dgm:spPr/>
    </dgm:pt>
    <dgm:pt modelId="{8F51F7A4-FD95-4C51-8FA8-0A5A0E082153}" type="pres">
      <dgm:prSet presAssocID="{02E9E566-A568-4AE0-A721-E20D07DE693C}" presName="radial" presStyleCnt="0">
        <dgm:presLayoutVars>
          <dgm:animLvl val="ctr"/>
        </dgm:presLayoutVars>
      </dgm:prSet>
      <dgm:spPr/>
    </dgm:pt>
    <dgm:pt modelId="{6874A5B6-B70D-46DA-96D4-1C73D831D2B0}" type="pres">
      <dgm:prSet presAssocID="{E7FE87BE-2A0F-49A9-B0F6-63C7740C08B8}" presName="centerShape" presStyleLbl="vennNode1" presStyleIdx="0" presStyleCnt="6"/>
      <dgm:spPr/>
    </dgm:pt>
    <dgm:pt modelId="{DC396590-DDFB-4ECA-AFC7-FBCDDDFD0084}" type="pres">
      <dgm:prSet presAssocID="{39D1F1C4-5D07-4818-B9EA-24088FC7D385}" presName="node" presStyleLbl="vennNode1" presStyleIdx="1" presStyleCnt="6" custScaleX="123175" custScaleY="119794">
        <dgm:presLayoutVars>
          <dgm:bulletEnabled val="1"/>
        </dgm:presLayoutVars>
      </dgm:prSet>
      <dgm:spPr/>
    </dgm:pt>
    <dgm:pt modelId="{BE8B3A87-51BB-4645-AFB0-3909C5828449}" type="pres">
      <dgm:prSet presAssocID="{DBFD7ED2-76D5-4DBB-8D0D-1DA5C4718709}" presName="node" presStyleLbl="vennNode1" presStyleIdx="2" presStyleCnt="6" custScaleX="110615" custScaleY="102259" custRadScaleRad="92727" custRadScaleInc="-41860">
        <dgm:presLayoutVars>
          <dgm:bulletEnabled val="1"/>
        </dgm:presLayoutVars>
      </dgm:prSet>
      <dgm:spPr/>
    </dgm:pt>
    <dgm:pt modelId="{4CCF86C8-3CEF-48F0-AE8D-8A5187CD4BFB}" type="pres">
      <dgm:prSet presAssocID="{FEB4A763-1CEA-4D4D-8205-1500E869D96D}" presName="node" presStyleLbl="vennNode1" presStyleIdx="3" presStyleCnt="6" custScaleX="110614" custScaleY="102257" custRadScaleRad="93579" custRadScaleInc="241057">
        <dgm:presLayoutVars>
          <dgm:bulletEnabled val="1"/>
        </dgm:presLayoutVars>
      </dgm:prSet>
      <dgm:spPr/>
    </dgm:pt>
    <dgm:pt modelId="{4368CE8D-DD0D-47B2-A3F7-5B5CD69231AF}" type="pres">
      <dgm:prSet presAssocID="{70C09BD4-6CB5-47BB-9459-B3C32ABE3871}" presName="node" presStyleLbl="vennNode1" presStyleIdx="4" presStyleCnt="6" custScaleX="121229" custScaleY="121227" custRadScaleRad="90241" custRadScaleInc="13070">
        <dgm:presLayoutVars>
          <dgm:bulletEnabled val="1"/>
        </dgm:presLayoutVars>
      </dgm:prSet>
      <dgm:spPr/>
    </dgm:pt>
    <dgm:pt modelId="{D3DD4B18-2ADD-4503-9B76-9ED20C79A1B6}" type="pres">
      <dgm:prSet presAssocID="{2E5CEF69-DDEE-40AF-B743-FFB52E8AB539}" presName="node" presStyleLbl="vennNode1" presStyleIdx="5" presStyleCnt="6" custScaleX="121230" custScaleY="123605" custRadScaleRad="88831" custRadScaleInc="-222815">
        <dgm:presLayoutVars>
          <dgm:bulletEnabled val="1"/>
        </dgm:presLayoutVars>
      </dgm:prSet>
      <dgm:spPr/>
    </dgm:pt>
  </dgm:ptLst>
  <dgm:cxnLst>
    <dgm:cxn modelId="{517F920F-9D73-4246-9D33-63ADD09F38DE}" type="presOf" srcId="{2E5CEF69-DDEE-40AF-B743-FFB52E8AB539}" destId="{D3DD4B18-2ADD-4503-9B76-9ED20C79A1B6}" srcOrd="0" destOrd="0" presId="urn:microsoft.com/office/officeart/2005/8/layout/radial3"/>
    <dgm:cxn modelId="{D057EE19-AD41-4659-B5D2-201ACDA14BD8}" type="presOf" srcId="{39D1F1C4-5D07-4818-B9EA-24088FC7D385}" destId="{DC396590-DDFB-4ECA-AFC7-FBCDDDFD0084}" srcOrd="0" destOrd="0" presId="urn:microsoft.com/office/officeart/2005/8/layout/radial3"/>
    <dgm:cxn modelId="{2E51E731-49A6-4B75-9B47-E06C745266CC}" type="presOf" srcId="{DBFD7ED2-76D5-4DBB-8D0D-1DA5C4718709}" destId="{BE8B3A87-51BB-4645-AFB0-3909C5828449}" srcOrd="0" destOrd="0" presId="urn:microsoft.com/office/officeart/2005/8/layout/radial3"/>
    <dgm:cxn modelId="{CED2BE45-B28A-46BA-9D7E-C6F48401E79A}" srcId="{E7FE87BE-2A0F-49A9-B0F6-63C7740C08B8}" destId="{2E5CEF69-DDEE-40AF-B743-FFB52E8AB539}" srcOrd="4" destOrd="0" parTransId="{D2BB421F-B369-41CF-8675-86B48C323C17}" sibTransId="{A1AEA270-7952-4F6A-9616-D55232F18577}"/>
    <dgm:cxn modelId="{8D960F47-683E-4B9D-8C1B-C3883D9DB809}" type="presOf" srcId="{70C09BD4-6CB5-47BB-9459-B3C32ABE3871}" destId="{4368CE8D-DD0D-47B2-A3F7-5B5CD69231AF}" srcOrd="0" destOrd="0" presId="urn:microsoft.com/office/officeart/2005/8/layout/radial3"/>
    <dgm:cxn modelId="{F17FA954-3E7E-41D5-A101-6F79EFB68F0F}" srcId="{E7FE87BE-2A0F-49A9-B0F6-63C7740C08B8}" destId="{70C09BD4-6CB5-47BB-9459-B3C32ABE3871}" srcOrd="3" destOrd="0" parTransId="{D39320C5-16B3-4900-AD41-D0B31813D27B}" sibTransId="{BE5252E3-9BD5-4984-BA37-355B64537636}"/>
    <dgm:cxn modelId="{56F3C38B-B2EB-4623-AEAA-FFA91CA6A0CF}" type="presOf" srcId="{02E9E566-A568-4AE0-A721-E20D07DE693C}" destId="{001E14CA-820D-4821-85A3-14B7145ED2AB}" srcOrd="0" destOrd="0" presId="urn:microsoft.com/office/officeart/2005/8/layout/radial3"/>
    <dgm:cxn modelId="{9DBEEC9B-2794-4D37-ABFD-B0FB04879188}" srcId="{E7FE87BE-2A0F-49A9-B0F6-63C7740C08B8}" destId="{FEB4A763-1CEA-4D4D-8205-1500E869D96D}" srcOrd="2" destOrd="0" parTransId="{6FB6B2DA-9ACA-42E2-A784-1EF4255E228A}" sibTransId="{19D7FAA9-1448-4B4B-9C81-435124F107F5}"/>
    <dgm:cxn modelId="{397E419F-B2A4-40D5-AAB6-53EF2E8F7F78}" type="presOf" srcId="{FEB4A763-1CEA-4D4D-8205-1500E869D96D}" destId="{4CCF86C8-3CEF-48F0-AE8D-8A5187CD4BFB}" srcOrd="0" destOrd="0" presId="urn:microsoft.com/office/officeart/2005/8/layout/radial3"/>
    <dgm:cxn modelId="{A476A2AA-2117-42BF-9425-83F93204214E}" srcId="{E7FE87BE-2A0F-49A9-B0F6-63C7740C08B8}" destId="{DBFD7ED2-76D5-4DBB-8D0D-1DA5C4718709}" srcOrd="1" destOrd="0" parTransId="{3FAA49A8-EE78-4938-8232-47BCA9ECE61A}" sibTransId="{8C327C45-66CF-465D-8D4E-4DEB059F062D}"/>
    <dgm:cxn modelId="{CDDACFBB-2A60-45C9-8C02-D989417B676B}" srcId="{E7FE87BE-2A0F-49A9-B0F6-63C7740C08B8}" destId="{39D1F1C4-5D07-4818-B9EA-24088FC7D385}" srcOrd="0" destOrd="0" parTransId="{EA1E22C4-EFF7-40B3-AC92-D27FDE334C75}" sibTransId="{B67D23E0-C7A5-4CAC-AF8E-0E4345B46A24}"/>
    <dgm:cxn modelId="{95FD00C4-9407-4FA3-B829-23EF3A8DE81C}" type="presOf" srcId="{E7FE87BE-2A0F-49A9-B0F6-63C7740C08B8}" destId="{6874A5B6-B70D-46DA-96D4-1C73D831D2B0}" srcOrd="0" destOrd="0" presId="urn:microsoft.com/office/officeart/2005/8/layout/radial3"/>
    <dgm:cxn modelId="{3E837DF1-2D27-4E37-914A-5A41BFF47D6A}" srcId="{02E9E566-A568-4AE0-A721-E20D07DE693C}" destId="{E7FE87BE-2A0F-49A9-B0F6-63C7740C08B8}" srcOrd="0" destOrd="0" parTransId="{1EFC3833-CD45-4506-9230-92BA00CFF34F}" sibTransId="{BDD65844-A133-4E85-B1BE-06012F07FC7E}"/>
    <dgm:cxn modelId="{F8FBFBCE-5927-405F-B9E0-F13FF2161672}" type="presParOf" srcId="{001E14CA-820D-4821-85A3-14B7145ED2AB}" destId="{8F51F7A4-FD95-4C51-8FA8-0A5A0E082153}" srcOrd="0" destOrd="0" presId="urn:microsoft.com/office/officeart/2005/8/layout/radial3"/>
    <dgm:cxn modelId="{CF238F41-876D-45FD-8825-A65F8A42F97E}" type="presParOf" srcId="{8F51F7A4-FD95-4C51-8FA8-0A5A0E082153}" destId="{6874A5B6-B70D-46DA-96D4-1C73D831D2B0}" srcOrd="0" destOrd="0" presId="urn:microsoft.com/office/officeart/2005/8/layout/radial3"/>
    <dgm:cxn modelId="{BF60AAB5-C73F-4684-ADD9-286AB6D9365A}" type="presParOf" srcId="{8F51F7A4-FD95-4C51-8FA8-0A5A0E082153}" destId="{DC396590-DDFB-4ECA-AFC7-FBCDDDFD0084}" srcOrd="1" destOrd="0" presId="urn:microsoft.com/office/officeart/2005/8/layout/radial3"/>
    <dgm:cxn modelId="{95BD5ABF-7E88-41D9-8D9C-684D474B6391}" type="presParOf" srcId="{8F51F7A4-FD95-4C51-8FA8-0A5A0E082153}" destId="{BE8B3A87-51BB-4645-AFB0-3909C5828449}" srcOrd="2" destOrd="0" presId="urn:microsoft.com/office/officeart/2005/8/layout/radial3"/>
    <dgm:cxn modelId="{9DD43B13-ED7B-40D7-B577-835B7D6B7FE0}" type="presParOf" srcId="{8F51F7A4-FD95-4C51-8FA8-0A5A0E082153}" destId="{4CCF86C8-3CEF-48F0-AE8D-8A5187CD4BFB}" srcOrd="3" destOrd="0" presId="urn:microsoft.com/office/officeart/2005/8/layout/radial3"/>
    <dgm:cxn modelId="{5982FFCD-764D-4962-8960-D2BCC19C7C23}" type="presParOf" srcId="{8F51F7A4-FD95-4C51-8FA8-0A5A0E082153}" destId="{4368CE8D-DD0D-47B2-A3F7-5B5CD69231AF}" srcOrd="4" destOrd="0" presId="urn:microsoft.com/office/officeart/2005/8/layout/radial3"/>
    <dgm:cxn modelId="{C47B8EDF-DF1B-4A22-8485-89E23097FC26}" type="presParOf" srcId="{8F51F7A4-FD95-4C51-8FA8-0A5A0E082153}" destId="{D3DD4B18-2ADD-4503-9B76-9ED20C79A1B6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7319B3-B36F-4E4D-99C6-6FE99E0792EB}">
      <dsp:nvSpPr>
        <dsp:cNvPr id="0" name=""/>
        <dsp:cNvSpPr/>
      </dsp:nvSpPr>
      <dsp:spPr>
        <a:xfrm>
          <a:off x="0" y="2169525"/>
          <a:ext cx="3000051" cy="142160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74676" rIns="37338" bIns="7467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b="0" kern="1200" dirty="0">
              <a:latin typeface="Arial" panose="020B0604020202020204" pitchFamily="34" charset="0"/>
              <a:cs typeface="Arial" panose="020B0604020202020204" pitchFamily="34" charset="0"/>
            </a:rPr>
            <a:t>Aluevaltuusto 14.8.2023 </a:t>
          </a:r>
        </a:p>
      </dsp:txBody>
      <dsp:txXfrm>
        <a:off x="0" y="2169525"/>
        <a:ext cx="2644650" cy="1421606"/>
      </dsp:txXfrm>
    </dsp:sp>
    <dsp:sp modelId="{7E93FBBB-247E-4709-8A1D-2D75BE20FA80}">
      <dsp:nvSpPr>
        <dsp:cNvPr id="0" name=""/>
        <dsp:cNvSpPr/>
      </dsp:nvSpPr>
      <dsp:spPr>
        <a:xfrm>
          <a:off x="2293221" y="2188546"/>
          <a:ext cx="4246480" cy="14216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>
              <a:latin typeface="Arial" panose="020B0604020202020204" pitchFamily="34" charset="0"/>
              <a:cs typeface="Arial" panose="020B0604020202020204" pitchFamily="34" charset="0"/>
            </a:rPr>
            <a:t>Aluehallitus 11.9.2023</a:t>
          </a:r>
        </a:p>
      </dsp:txBody>
      <dsp:txXfrm>
        <a:off x="3004024" y="2188546"/>
        <a:ext cx="2824874" cy="1421606"/>
      </dsp:txXfrm>
    </dsp:sp>
    <dsp:sp modelId="{67C3148A-8D0B-4F8F-BC62-966545887F3C}">
      <dsp:nvSpPr>
        <dsp:cNvPr id="0" name=""/>
        <dsp:cNvSpPr/>
      </dsp:nvSpPr>
      <dsp:spPr>
        <a:xfrm>
          <a:off x="5828897" y="2188546"/>
          <a:ext cx="3515916" cy="14216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800" kern="1200" dirty="0">
              <a:latin typeface="Arial" panose="020B0604020202020204" pitchFamily="34" charset="0"/>
              <a:cs typeface="Arial" panose="020B0604020202020204" pitchFamily="34" charset="0"/>
            </a:rPr>
            <a:t>Aluehallitus 9.10.2023</a:t>
          </a:r>
        </a:p>
      </dsp:txBody>
      <dsp:txXfrm>
        <a:off x="6539700" y="2188546"/>
        <a:ext cx="2094310" cy="1421606"/>
      </dsp:txXfrm>
    </dsp:sp>
    <dsp:sp modelId="{924088CD-CA59-45FC-90C2-143F91E4927F}">
      <dsp:nvSpPr>
        <dsp:cNvPr id="0" name=""/>
        <dsp:cNvSpPr/>
      </dsp:nvSpPr>
      <dsp:spPr>
        <a:xfrm>
          <a:off x="8634011" y="2188546"/>
          <a:ext cx="3554015" cy="142160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69342" rIns="34671" bIns="69342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2600" kern="1200" dirty="0"/>
            <a:t>Aluevaltuusto 6.11.2023</a:t>
          </a:r>
        </a:p>
      </dsp:txBody>
      <dsp:txXfrm>
        <a:off x="9344814" y="2188546"/>
        <a:ext cx="2132409" cy="14216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74A5B6-B70D-46DA-96D4-1C73D831D2B0}">
      <dsp:nvSpPr>
        <dsp:cNvPr id="0" name=""/>
        <dsp:cNvSpPr/>
      </dsp:nvSpPr>
      <dsp:spPr>
        <a:xfrm>
          <a:off x="846687" y="1029599"/>
          <a:ext cx="2213337" cy="2213337"/>
        </a:xfrm>
        <a:prstGeom prst="ellipse">
          <a:avLst/>
        </a:prstGeom>
        <a:solidFill>
          <a:srgbClr val="CCFFCC">
            <a:alpha val="50000"/>
          </a:srgbClr>
        </a:solidFill>
        <a:ln w="10795" cap="flat" cmpd="sng" algn="ctr">
          <a:solidFill>
            <a:schemeClr val="accent1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1200" b="1" kern="1200" dirty="0"/>
            <a:t>Pirkanmaan alueellinen hyvinvointikertomus ja -suunnitelma</a:t>
          </a:r>
        </a:p>
      </dsp:txBody>
      <dsp:txXfrm>
        <a:off x="1170823" y="1353735"/>
        <a:ext cx="1565065" cy="1565065"/>
      </dsp:txXfrm>
    </dsp:sp>
    <dsp:sp modelId="{DC396590-DDFB-4ECA-AFC7-FBCDDDFD0084}">
      <dsp:nvSpPr>
        <dsp:cNvPr id="0" name=""/>
        <dsp:cNvSpPr/>
      </dsp:nvSpPr>
      <dsp:spPr>
        <a:xfrm>
          <a:off x="1271786" y="33545"/>
          <a:ext cx="1363139" cy="1325722"/>
        </a:xfrm>
        <a:prstGeom prst="ellipse">
          <a:avLst/>
        </a:prstGeom>
        <a:solidFill>
          <a:schemeClr val="tx2">
            <a:lumMod val="20000"/>
            <a:lumOff val="80000"/>
            <a:alpha val="50000"/>
          </a:schemeClr>
        </a:solidFill>
        <a:ln w="10795" cap="flat" cmpd="sng" algn="ctr">
          <a:solidFill>
            <a:schemeClr val="tx2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b="1" kern="1200" dirty="0"/>
            <a:t>Alueellinen lasten ja nuorten hyvinvointi-suunnitelma</a:t>
          </a:r>
        </a:p>
      </dsp:txBody>
      <dsp:txXfrm>
        <a:off x="1471413" y="227692"/>
        <a:ext cx="963885" cy="937428"/>
      </dsp:txXfrm>
    </dsp:sp>
    <dsp:sp modelId="{BE8B3A87-51BB-4645-AFB0-3909C5828449}">
      <dsp:nvSpPr>
        <dsp:cNvPr id="0" name=""/>
        <dsp:cNvSpPr/>
      </dsp:nvSpPr>
      <dsp:spPr>
        <a:xfrm>
          <a:off x="2232255" y="576064"/>
          <a:ext cx="1224141" cy="1131668"/>
        </a:xfrm>
        <a:prstGeom prst="ellipse">
          <a:avLst/>
        </a:prstGeom>
        <a:solidFill>
          <a:schemeClr val="accent3">
            <a:lumMod val="40000"/>
            <a:lumOff val="60000"/>
            <a:alpha val="50000"/>
          </a:schemeClr>
        </a:solidFill>
        <a:ln w="10795" cap="flat" cmpd="sng" algn="ctr">
          <a:solidFill>
            <a:schemeClr val="accent2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b="1" kern="1200" dirty="0"/>
            <a:t>Alueellinen neuvola-suunnitelma</a:t>
          </a:r>
        </a:p>
      </dsp:txBody>
      <dsp:txXfrm>
        <a:off x="2411526" y="741793"/>
        <a:ext cx="865599" cy="800210"/>
      </dsp:txXfrm>
    </dsp:sp>
    <dsp:sp modelId="{4CCF86C8-3CEF-48F0-AE8D-8A5187CD4BFB}">
      <dsp:nvSpPr>
        <dsp:cNvPr id="0" name=""/>
        <dsp:cNvSpPr/>
      </dsp:nvSpPr>
      <dsp:spPr>
        <a:xfrm>
          <a:off x="432054" y="576062"/>
          <a:ext cx="1224130" cy="1131646"/>
        </a:xfrm>
        <a:prstGeom prst="ellipse">
          <a:avLst/>
        </a:prstGeom>
        <a:solidFill>
          <a:schemeClr val="accent2">
            <a:lumMod val="40000"/>
            <a:lumOff val="60000"/>
            <a:alpha val="50000"/>
          </a:schemeClr>
        </a:solidFill>
        <a:ln w="10795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b="1" kern="1200" dirty="0"/>
            <a:t>Alueellinen opiskeluhuoltosuunnitelma</a:t>
          </a:r>
        </a:p>
      </dsp:txBody>
      <dsp:txXfrm>
        <a:off x="611324" y="741788"/>
        <a:ext cx="865590" cy="800194"/>
      </dsp:txXfrm>
    </dsp:sp>
    <dsp:sp modelId="{4368CE8D-DD0D-47B2-A3F7-5B5CD69231AF}">
      <dsp:nvSpPr>
        <dsp:cNvPr id="0" name=""/>
        <dsp:cNvSpPr/>
      </dsp:nvSpPr>
      <dsp:spPr>
        <a:xfrm>
          <a:off x="357221" y="2377648"/>
          <a:ext cx="1341603" cy="1341581"/>
        </a:xfrm>
        <a:prstGeom prst="ellipse">
          <a:avLst/>
        </a:prstGeom>
        <a:solidFill>
          <a:schemeClr val="bg1">
            <a:lumMod val="75000"/>
            <a:alpha val="50000"/>
          </a:schemeClr>
        </a:solidFill>
        <a:ln w="10795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b="1" kern="1200" dirty="0"/>
            <a:t>Alueellinen ikäihmisten hyvinvointi-suunnitelma</a:t>
          </a:r>
        </a:p>
      </dsp:txBody>
      <dsp:txXfrm>
        <a:off x="553694" y="2574118"/>
        <a:ext cx="948657" cy="948641"/>
      </dsp:txXfrm>
    </dsp:sp>
    <dsp:sp modelId="{D3DD4B18-2ADD-4503-9B76-9ED20C79A1B6}">
      <dsp:nvSpPr>
        <dsp:cNvPr id="0" name=""/>
        <dsp:cNvSpPr/>
      </dsp:nvSpPr>
      <dsp:spPr>
        <a:xfrm>
          <a:off x="2296286" y="2232247"/>
          <a:ext cx="1341614" cy="1367898"/>
        </a:xfrm>
        <a:prstGeom prst="ellipse">
          <a:avLst/>
        </a:prstGeom>
        <a:solidFill>
          <a:schemeClr val="accent6">
            <a:lumMod val="40000"/>
            <a:lumOff val="60000"/>
            <a:alpha val="50000"/>
          </a:schemeClr>
        </a:solidFill>
        <a:ln w="10795" cap="flat" cmpd="sng" algn="ctr">
          <a:solidFill>
            <a:schemeClr val="accent6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i-FI" sz="900" b="1" kern="1200" dirty="0"/>
            <a:t>Alueellinen ehkäisevän päihdetyön suunnitelma</a:t>
          </a:r>
        </a:p>
      </dsp:txBody>
      <dsp:txXfrm>
        <a:off x="2492761" y="2432571"/>
        <a:ext cx="948664" cy="9672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98172A-17B4-40D4-BF43-AFFE55AD9FA7}" type="datetimeFigureOut">
              <a:rPr lang="fi-FI" smtClean="0"/>
              <a:t>11.10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53042-22BA-4C0D-98C1-631C74594EDC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122827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3095AD-1777-4067-B046-A1A28382DA49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561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773F87-97AD-41DD-A33A-1610FB1AEE55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1226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3095AD-1777-4067-B046-A1A28382DA49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42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otsikko 2">
            <a:extLst>
              <a:ext uri="{FF2B5EF4-FFF2-40B4-BE49-F238E27FC236}">
                <a16:creationId xmlns:a16="http://schemas.microsoft.com/office/drawing/2014/main" id="{E79FDE38-AB36-104A-134D-391C549C00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688" y="3644900"/>
            <a:ext cx="5184775" cy="2087810"/>
          </a:xfrm>
        </p:spPr>
        <p:txBody>
          <a:bodyPr/>
          <a:lstStyle>
            <a:lvl1pPr marL="0" indent="0" algn="l">
              <a:buNone/>
              <a:defRPr lang="fi-FI" sz="2000" kern="1200" dirty="0" err="1" smtClean="0">
                <a:solidFill>
                  <a:srgbClr val="10285E"/>
                </a:solidFill>
                <a:latin typeface="+mn-lt"/>
                <a:ea typeface="Inter" panose="02000503000000020004" pitchFamily="2" charset="0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3FB70ACE-C88B-4462-956A-778C138753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0" name="Kuva 9">
            <a:extLst>
              <a:ext uri="{FF2B5EF4-FFF2-40B4-BE49-F238E27FC236}">
                <a16:creationId xmlns:a16="http://schemas.microsoft.com/office/drawing/2014/main" id="{10919056-E79E-47D8-B0E3-43BAAF3E01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8381" y="332867"/>
            <a:ext cx="4827170" cy="6264274"/>
          </a:xfrm>
          <a:prstGeom prst="rect">
            <a:avLst/>
          </a:prstGeom>
        </p:spPr>
      </p:pic>
      <p:pic>
        <p:nvPicPr>
          <p:cNvPr id="13" name="Kuva 12">
            <a:extLst>
              <a:ext uri="{FF2B5EF4-FFF2-40B4-BE49-F238E27FC236}">
                <a16:creationId xmlns:a16="http://schemas.microsoft.com/office/drawing/2014/main" id="{1053625D-16BF-44C7-8504-EE92C2BD79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21" name="Tekstin paikkamerkki 20">
            <a:extLst>
              <a:ext uri="{FF2B5EF4-FFF2-40B4-BE49-F238E27FC236}">
                <a16:creationId xmlns:a16="http://schemas.microsoft.com/office/drawing/2014/main" id="{B326C72A-CF20-4784-B191-D8224CD082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5688" y="908719"/>
            <a:ext cx="5976937" cy="2304381"/>
          </a:xfrm>
        </p:spPr>
        <p:txBody>
          <a:bodyPr anchor="b"/>
          <a:lstStyle>
            <a:lvl1pPr marL="0" indent="0">
              <a:buNone/>
              <a:defRPr sz="4800" b="1">
                <a:solidFill>
                  <a:schemeClr val="tx2"/>
                </a:solidFill>
                <a:latin typeface="+mj-lt"/>
              </a:defRPr>
            </a:lvl1pPr>
            <a:lvl2pPr marL="144000" indent="0">
              <a:buNone/>
              <a:defRPr>
                <a:latin typeface="+mj-lt"/>
              </a:defRPr>
            </a:lvl2pPr>
            <a:lvl3pPr marL="324000" indent="0">
              <a:buNone/>
              <a:defRPr>
                <a:latin typeface="+mj-lt"/>
              </a:defRPr>
            </a:lvl3pPr>
            <a:lvl4pPr marL="504000" indent="0">
              <a:buNone/>
              <a:defRPr>
                <a:latin typeface="+mj-lt"/>
              </a:defRPr>
            </a:lvl4pPr>
            <a:lvl5pPr marL="684000" indent="0">
              <a:buNone/>
              <a:defRPr>
                <a:latin typeface="+mj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499418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Sisällön paikkamerkki 8"/>
          <p:cNvSpPr>
            <a:spLocks noGrp="1"/>
          </p:cNvSpPr>
          <p:nvPr>
            <p:ph sz="quarter" idx="13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4"/>
          </p:nvPr>
        </p:nvSpPr>
        <p:spPr>
          <a:xfrm>
            <a:off x="6240463" y="1628775"/>
            <a:ext cx="5472112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417446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11233150" cy="935039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79425" y="1633538"/>
            <a:ext cx="5472113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79425" y="2505075"/>
            <a:ext cx="5472113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240463" y="1633538"/>
            <a:ext cx="5472112" cy="679338"/>
          </a:xfrm>
        </p:spPr>
        <p:txBody>
          <a:bodyPr anchor="b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n-lt"/>
                <a:ea typeface="Inter SemiBold" panose="02000503000000020004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240463" y="2505075"/>
            <a:ext cx="5472112" cy="34448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888318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767691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6CEDDCA-A678-0378-172C-68E4E799F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F7A46F20-FE9E-0E4F-C979-89FC80B2EF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B203AC9E-CDA8-B353-1569-F2B41A3BF1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29964C09-3970-7333-0A6D-BFC6B18252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DF284-1EB9-4281-8B82-41329B751404}" type="datetimeFigureOut">
              <a:rPr lang="fi-FI" smtClean="0"/>
              <a:t>11.10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7B6F2DED-9CEA-A97D-C7AD-9DB974E00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94ED564E-DA7D-DBCF-2E23-5280462AB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A7FF98-7FB2-4EB7-890B-6065D6679903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91824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_sisältö_lainaus_ro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 marL="684000" indent="0">
              <a:buNone/>
              <a:defRPr>
                <a:latin typeface="+mn-lt"/>
              </a:defRPr>
            </a:lvl5pPr>
          </a:lstStyle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9" name="Suorakulmio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40462" y="0"/>
            <a:ext cx="5951537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latin typeface="+mn-lt"/>
            </a:endParaRPr>
          </a:p>
        </p:txBody>
      </p:sp>
      <p:sp>
        <p:nvSpPr>
          <p:cNvPr id="18" name="Sisällön paikkamerkki 10"/>
          <p:cNvSpPr>
            <a:spLocks noGrp="1"/>
          </p:cNvSpPr>
          <p:nvPr>
            <p:ph sz="quarter" idx="14"/>
          </p:nvPr>
        </p:nvSpPr>
        <p:spPr>
          <a:xfrm>
            <a:off x="7134358" y="1929522"/>
            <a:ext cx="4253796" cy="3024336"/>
          </a:xfrm>
          <a:prstGeom prst="rect">
            <a:avLst/>
          </a:prstGeom>
          <a:noFill/>
        </p:spPr>
        <p:txBody>
          <a:bodyPr anchor="ctr"/>
          <a:lstStyle>
            <a:lvl1pPr marL="0" indent="0" algn="l">
              <a:buNone/>
              <a:defRPr sz="4000" b="1">
                <a:solidFill>
                  <a:schemeClr val="bg1"/>
                </a:solidFill>
                <a:latin typeface="+mn-lt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 dirty="0"/>
              <a:t>Muokkaa tekstin perustyylejä</a:t>
            </a:r>
          </a:p>
        </p:txBody>
      </p:sp>
      <p:grpSp>
        <p:nvGrpSpPr>
          <p:cNvPr id="10" name="Ryhmä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0889753" y="5853643"/>
            <a:ext cx="920256" cy="748770"/>
            <a:chOff x="6358656" y="1628777"/>
            <a:chExt cx="5451353" cy="4435511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  <p:grpSp>
        <p:nvGrpSpPr>
          <p:cNvPr id="13" name="Ryhmä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647437" y="429574"/>
            <a:ext cx="899062" cy="731525"/>
            <a:chOff x="6358656" y="1628777"/>
            <a:chExt cx="5451353" cy="4435511"/>
          </a:xfrm>
          <a:solidFill>
            <a:schemeClr val="accent1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 rot="16200000" flipH="1">
              <a:off x="5617094" y="2370339"/>
              <a:ext cx="4435511" cy="2952388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  <p:sp>
          <p:nvSpPr>
            <p:cNvPr id="15" name="Freeform 5"/>
            <p:cNvSpPr>
              <a:spLocks/>
            </p:cNvSpPr>
            <p:nvPr/>
          </p:nvSpPr>
          <p:spPr bwMode="auto">
            <a:xfrm rot="16200000" flipH="1">
              <a:off x="8218837" y="2358778"/>
              <a:ext cx="4312101" cy="2870243"/>
            </a:xfrm>
            <a:custGeom>
              <a:avLst/>
              <a:gdLst>
                <a:gd name="T0" fmla="*/ 0 w 1061"/>
                <a:gd name="T1" fmla="*/ 352 h 704"/>
                <a:gd name="T2" fmla="*/ 354 w 1061"/>
                <a:gd name="T3" fmla="*/ 704 h 704"/>
                <a:gd name="T4" fmla="*/ 1061 w 1061"/>
                <a:gd name="T5" fmla="*/ 704 h 704"/>
                <a:gd name="T6" fmla="*/ 708 w 1061"/>
                <a:gd name="T7" fmla="*/ 352 h 704"/>
                <a:gd name="T8" fmla="*/ 354 w 1061"/>
                <a:gd name="T9" fmla="*/ 0 h 704"/>
                <a:gd name="T10" fmla="*/ 0 w 1061"/>
                <a:gd name="T11" fmla="*/ 352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61" h="704">
                  <a:moveTo>
                    <a:pt x="0" y="352"/>
                  </a:moveTo>
                  <a:cubicBezTo>
                    <a:pt x="0" y="546"/>
                    <a:pt x="158" y="704"/>
                    <a:pt x="354" y="704"/>
                  </a:cubicBezTo>
                  <a:cubicBezTo>
                    <a:pt x="1061" y="704"/>
                    <a:pt x="1061" y="704"/>
                    <a:pt x="1061" y="704"/>
                  </a:cubicBezTo>
                  <a:cubicBezTo>
                    <a:pt x="866" y="704"/>
                    <a:pt x="708" y="546"/>
                    <a:pt x="708" y="352"/>
                  </a:cubicBezTo>
                  <a:cubicBezTo>
                    <a:pt x="708" y="158"/>
                    <a:pt x="549" y="0"/>
                    <a:pt x="354" y="0"/>
                  </a:cubicBezTo>
                  <a:cubicBezTo>
                    <a:pt x="158" y="0"/>
                    <a:pt x="0" y="158"/>
                    <a:pt x="0" y="3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05149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nsi_purppura_1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0338" y="333374"/>
            <a:ext cx="4832237" cy="6264275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057275" y="1122363"/>
            <a:ext cx="6658905" cy="2126617"/>
          </a:xfrm>
        </p:spPr>
        <p:txBody>
          <a:bodyPr anchor="b">
            <a:no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057275" y="3465004"/>
            <a:ext cx="5722801" cy="964597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6" name="Tekstin paikkamerkki 7"/>
          <p:cNvSpPr>
            <a:spLocks noGrp="1"/>
          </p:cNvSpPr>
          <p:nvPr>
            <p:ph type="body" sz="quarter" idx="12"/>
          </p:nvPr>
        </p:nvSpPr>
        <p:spPr>
          <a:xfrm>
            <a:off x="2207568" y="4962525"/>
            <a:ext cx="4032895" cy="727076"/>
          </a:xfrm>
          <a:noFill/>
        </p:spPr>
        <p:txBody>
          <a:bodyPr anchor="ctr" anchorCtr="0"/>
          <a:lstStyle>
            <a:lvl1pPr marL="360000" indent="0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7" name="Kuvan paikkamerkki 7"/>
          <p:cNvSpPr>
            <a:spLocks noGrp="1" noChangeAspect="1"/>
          </p:cNvSpPr>
          <p:nvPr>
            <p:ph type="pic" sz="quarter" idx="11"/>
          </p:nvPr>
        </p:nvSpPr>
        <p:spPr>
          <a:xfrm>
            <a:off x="1055580" y="4689280"/>
            <a:ext cx="1260000" cy="126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 sz="1200"/>
            </a:lvl1pPr>
          </a:lstStyle>
          <a:p>
            <a:endParaRPr lang="fi-FI"/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813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Sisällön paikkamerkki 8"/>
          <p:cNvSpPr>
            <a:spLocks noGrp="1"/>
          </p:cNvSpPr>
          <p:nvPr>
            <p:ph sz="quarter" idx="13"/>
          </p:nvPr>
        </p:nvSpPr>
        <p:spPr>
          <a:xfrm>
            <a:off x="479425" y="1628775"/>
            <a:ext cx="5472113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4"/>
          </p:nvPr>
        </p:nvSpPr>
        <p:spPr>
          <a:xfrm>
            <a:off x="6240463" y="1628775"/>
            <a:ext cx="5472112" cy="4321175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272892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_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1233151" cy="4321175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3pPr>
            <a:lvl4pPr>
              <a:spcAft>
                <a:spcPts val="1200"/>
              </a:spcAft>
              <a:defRPr>
                <a:latin typeface="+mn-lt"/>
              </a:defRPr>
            </a:lvl4pPr>
            <a:lvl5pPr marL="684000" indent="0">
              <a:spcAft>
                <a:spcPts val="1200"/>
              </a:spcAft>
              <a:buNone/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8826120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_pallo_ro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7"/>
          <p:cNvSpPr>
            <a:spLocks noChangeAspect="1" noChangeArrowheads="1"/>
          </p:cNvSpPr>
          <p:nvPr userDrawn="1"/>
        </p:nvSpPr>
        <p:spPr bwMode="auto">
          <a:xfrm>
            <a:off x="6782976" y="1628775"/>
            <a:ext cx="4353584" cy="435358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6" y="1628777"/>
            <a:ext cx="5616575" cy="4321175"/>
          </a:xfrm>
        </p:spPr>
        <p:txBody>
          <a:bodyPr/>
          <a:lstStyle>
            <a:lvl1pPr marL="342891" indent="-342891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465739" indent="-285744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 marL="645735" indent="-285744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825730" indent="-285744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4pPr>
            <a:lvl5pPr marL="1005726" indent="-285744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3"/>
          </p:nvPr>
        </p:nvSpPr>
        <p:spPr>
          <a:xfrm>
            <a:off x="6944563" y="1790363"/>
            <a:ext cx="3996827" cy="3996827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19930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 ja sisältö_pallo_purpp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7"/>
          <p:cNvSpPr>
            <a:spLocks noChangeAspect="1" noChangeArrowheads="1"/>
          </p:cNvSpPr>
          <p:nvPr userDrawn="1"/>
        </p:nvSpPr>
        <p:spPr bwMode="auto">
          <a:xfrm>
            <a:off x="1091444" y="1268760"/>
            <a:ext cx="4353584" cy="435358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240239" y="333376"/>
            <a:ext cx="5472339" cy="923925"/>
          </a:xfrm>
        </p:spPr>
        <p:txBody>
          <a:bodyPr/>
          <a:lstStyle/>
          <a:p>
            <a:r>
              <a:rPr lang="fi-FI"/>
              <a:t>Muokkaa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11" name="Sisällön paikkamerkki 10"/>
          <p:cNvSpPr>
            <a:spLocks noGrp="1"/>
          </p:cNvSpPr>
          <p:nvPr>
            <p:ph sz="quarter" idx="13"/>
          </p:nvPr>
        </p:nvSpPr>
        <p:spPr>
          <a:xfrm>
            <a:off x="1253031" y="1430348"/>
            <a:ext cx="3996827" cy="3996827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Inter SemiBold" panose="02000503000000020004" pitchFamily="2" charset="0"/>
                <a:ea typeface="Inter SemiBold" panose="02000503000000020004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4"/>
          </p:nvPr>
        </p:nvSpPr>
        <p:spPr>
          <a:xfrm>
            <a:off x="6240463" y="1628777"/>
            <a:ext cx="5472112" cy="4321175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744102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1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8" name="Sisällön paikkamerkki 7"/>
          <p:cNvSpPr>
            <a:spLocks noGrp="1"/>
          </p:cNvSpPr>
          <p:nvPr>
            <p:ph sz="quarter" idx="13"/>
          </p:nvPr>
        </p:nvSpPr>
        <p:spPr>
          <a:xfrm>
            <a:off x="479424" y="1628800"/>
            <a:ext cx="11233151" cy="4321175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defRPr sz="2800">
                <a:latin typeface="+mn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>
                <a:latin typeface="+mn-lt"/>
              </a:defRPr>
            </a:lvl3pPr>
            <a:lvl4pPr>
              <a:spcAft>
                <a:spcPts val="1200"/>
              </a:spcAft>
              <a:defRPr>
                <a:latin typeface="+mn-lt"/>
              </a:defRPr>
            </a:lvl4pPr>
            <a:lvl5pPr marL="684000" indent="0">
              <a:spcAft>
                <a:spcPts val="1200"/>
              </a:spcAft>
              <a:buNone/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4218784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75445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Otsikko ja sisältö_1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6240463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9447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Loppudia_val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 userDrawn="1">
            <p:ph type="ctrTitle" hasCustomPrompt="1"/>
          </p:nvPr>
        </p:nvSpPr>
        <p:spPr>
          <a:xfrm>
            <a:off x="5959414" y="1270000"/>
            <a:ext cx="5753161" cy="1150887"/>
          </a:xfrm>
        </p:spPr>
        <p:txBody>
          <a:bodyPr anchor="b">
            <a:noAutofit/>
          </a:bodyPr>
          <a:lstStyle>
            <a:lvl1pPr algn="l">
              <a:defRPr sz="44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i-FI" dirty="0"/>
              <a:t>Muokkaa perustyyliä napsauttamalla</a:t>
            </a:r>
          </a:p>
        </p:txBody>
      </p:sp>
      <p:sp>
        <p:nvSpPr>
          <p:cNvPr id="3" name="Alaotsikko 2"/>
          <p:cNvSpPr>
            <a:spLocks noGrp="1"/>
          </p:cNvSpPr>
          <p:nvPr userDrawn="1">
            <p:ph type="subTitle" idx="1"/>
          </p:nvPr>
        </p:nvSpPr>
        <p:spPr>
          <a:xfrm>
            <a:off x="5959414" y="2636912"/>
            <a:ext cx="5753161" cy="3005364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pic>
        <p:nvPicPr>
          <p:cNvPr id="20" name="Kuva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22624" y="1270000"/>
            <a:ext cx="3369220" cy="4372276"/>
          </a:xfrm>
          <a:prstGeom prst="rect">
            <a:avLst/>
          </a:prstGeom>
        </p:spPr>
      </p:pic>
      <p:pic>
        <p:nvPicPr>
          <p:cNvPr id="32" name="Kuva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pic>
        <p:nvPicPr>
          <p:cNvPr id="17" name="Kuva 16">
            <a:extLst>
              <a:ext uri="{FF2B5EF4-FFF2-40B4-BE49-F238E27FC236}">
                <a16:creationId xmlns:a16="http://schemas.microsoft.com/office/drawing/2014/main" id="{DB37A8E0-51C7-42D4-AA59-2ED69BF982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951538" y="6237288"/>
            <a:ext cx="215053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3947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_2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79425" y="1628775"/>
            <a:ext cx="11233150" cy="4321175"/>
          </a:xfrm>
        </p:spPr>
        <p:txBody>
          <a:bodyPr numCol="2" spcCol="720000"/>
          <a:lstStyle>
            <a:lvl1pPr marL="216000" indent="-216000">
              <a:defRPr sz="2800">
                <a:latin typeface="+mn-lt"/>
              </a:defRPr>
            </a:lvl1pPr>
            <a:lvl2pPr indent="-216000">
              <a:defRPr>
                <a:latin typeface="+mn-lt"/>
              </a:defRPr>
            </a:lvl2pPr>
            <a:lvl3pPr indent="-216000">
              <a:defRPr>
                <a:latin typeface="+mn-lt"/>
              </a:defRPr>
            </a:lvl3pPr>
            <a:lvl4pPr indent="-216000">
              <a:defRPr>
                <a:latin typeface="+mn-lt"/>
              </a:defRPr>
            </a:lvl4pPr>
            <a:lvl5pPr indent="-216000"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380280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4 kuvapa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15" name="Tekstin paikkamerkki 14"/>
          <p:cNvSpPr>
            <a:spLocks noGrp="1"/>
          </p:cNvSpPr>
          <p:nvPr>
            <p:ph type="body" sz="quarter" idx="17"/>
          </p:nvPr>
        </p:nvSpPr>
        <p:spPr>
          <a:xfrm>
            <a:off x="479425" y="1628775"/>
            <a:ext cx="5472113" cy="431165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Kuvan paikkamerkki 7"/>
          <p:cNvSpPr>
            <a:spLocks noGrp="1" noChangeAspect="1"/>
          </p:cNvSpPr>
          <p:nvPr>
            <p:ph type="pic" sz="quarter" idx="13"/>
          </p:nvPr>
        </p:nvSpPr>
        <p:spPr>
          <a:xfrm>
            <a:off x="6240462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0" name="Kuvan paikkamerkki 7"/>
          <p:cNvSpPr>
            <a:spLocks noGrp="1" noChangeAspect="1"/>
          </p:cNvSpPr>
          <p:nvPr>
            <p:ph type="pic" sz="quarter" idx="14"/>
          </p:nvPr>
        </p:nvSpPr>
        <p:spPr>
          <a:xfrm>
            <a:off x="9192636" y="33265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1" name="Kuvan paikkamerkki 7"/>
          <p:cNvSpPr>
            <a:spLocks noGrp="1" noChangeAspect="1"/>
          </p:cNvSpPr>
          <p:nvPr>
            <p:ph type="pic" sz="quarter" idx="15"/>
          </p:nvPr>
        </p:nvSpPr>
        <p:spPr>
          <a:xfrm>
            <a:off x="6240462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Kuvan paikkamerkki 7"/>
          <p:cNvSpPr>
            <a:spLocks noGrp="1" noChangeAspect="1"/>
          </p:cNvSpPr>
          <p:nvPr>
            <p:ph type="pic" sz="quarter" idx="16"/>
          </p:nvPr>
        </p:nvSpPr>
        <p:spPr>
          <a:xfrm>
            <a:off x="9192636" y="3312596"/>
            <a:ext cx="2628000" cy="2628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612074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sisältö, kuvapaikk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4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479424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6240463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2225441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6240510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5"/>
          </p:nvPr>
        </p:nvSpPr>
        <p:spPr>
          <a:xfrm>
            <a:off x="6240510" y="1628775"/>
            <a:ext cx="5472114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Kuvan paikkamerkki 3"/>
          <p:cNvSpPr>
            <a:spLocks noGrp="1"/>
          </p:cNvSpPr>
          <p:nvPr>
            <p:ph type="pic" sz="quarter" idx="16"/>
          </p:nvPr>
        </p:nvSpPr>
        <p:spPr>
          <a:xfrm>
            <a:off x="2" y="0"/>
            <a:ext cx="5951536" cy="685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30FB90F6-6D35-4849-B924-ACF4E2E07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190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-9291" y="0"/>
            <a:ext cx="5490303" cy="6858000"/>
          </a:xfrm>
          <a:custGeom>
            <a:avLst/>
            <a:gdLst>
              <a:gd name="connsiteX0" fmla="*/ 0 w 6853504"/>
              <a:gd name="connsiteY0" fmla="*/ 0 h 6853504"/>
              <a:gd name="connsiteX1" fmla="*/ 3426752 w 6853504"/>
              <a:gd name="connsiteY1" fmla="*/ 0 h 6853504"/>
              <a:gd name="connsiteX2" fmla="*/ 6853504 w 6853504"/>
              <a:gd name="connsiteY2" fmla="*/ 3426752 h 6853504"/>
              <a:gd name="connsiteX3" fmla="*/ 3426752 w 6853504"/>
              <a:gd name="connsiteY3" fmla="*/ 6853504 h 6853504"/>
              <a:gd name="connsiteX4" fmla="*/ 0 w 6853504"/>
              <a:gd name="connsiteY4" fmla="*/ 6853504 h 6853504"/>
              <a:gd name="connsiteX5" fmla="*/ 0 w 6853504"/>
              <a:gd name="connsiteY5" fmla="*/ 0 h 6853504"/>
              <a:gd name="connsiteX0" fmla="*/ 1347537 w 6853504"/>
              <a:gd name="connsiteY0" fmla="*/ 0 h 6865535"/>
              <a:gd name="connsiteX1" fmla="*/ 3426752 w 6853504"/>
              <a:gd name="connsiteY1" fmla="*/ 12031 h 6865535"/>
              <a:gd name="connsiteX2" fmla="*/ 6853504 w 6853504"/>
              <a:gd name="connsiteY2" fmla="*/ 3438783 h 6865535"/>
              <a:gd name="connsiteX3" fmla="*/ 3426752 w 6853504"/>
              <a:gd name="connsiteY3" fmla="*/ 6865535 h 6865535"/>
              <a:gd name="connsiteX4" fmla="*/ 0 w 6853504"/>
              <a:gd name="connsiteY4" fmla="*/ 6865535 h 6865535"/>
              <a:gd name="connsiteX5" fmla="*/ 1347537 w 6853504"/>
              <a:gd name="connsiteY5" fmla="*/ 0 h 6865535"/>
              <a:gd name="connsiteX0" fmla="*/ 0 w 5505967"/>
              <a:gd name="connsiteY0" fmla="*/ 0 h 6877567"/>
              <a:gd name="connsiteX1" fmla="*/ 2079215 w 5505967"/>
              <a:gd name="connsiteY1" fmla="*/ 12031 h 6877567"/>
              <a:gd name="connsiteX2" fmla="*/ 5505967 w 5505967"/>
              <a:gd name="connsiteY2" fmla="*/ 3438783 h 6877567"/>
              <a:gd name="connsiteX3" fmla="*/ 2079215 w 5505967"/>
              <a:gd name="connsiteY3" fmla="*/ 6865535 h 6877567"/>
              <a:gd name="connsiteX4" fmla="*/ 12031 w 5505967"/>
              <a:gd name="connsiteY4" fmla="*/ 6877567 h 6877567"/>
              <a:gd name="connsiteX5" fmla="*/ 0 w 5505967"/>
              <a:gd name="connsiteY5" fmla="*/ 0 h 687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05967" h="6877567">
                <a:moveTo>
                  <a:pt x="0" y="0"/>
                </a:moveTo>
                <a:lnTo>
                  <a:pt x="2079215" y="12031"/>
                </a:lnTo>
                <a:cubicBezTo>
                  <a:pt x="3971758" y="12031"/>
                  <a:pt x="5505967" y="1546240"/>
                  <a:pt x="5505967" y="3438783"/>
                </a:cubicBezTo>
                <a:cubicBezTo>
                  <a:pt x="5505967" y="5331326"/>
                  <a:pt x="3971758" y="6865535"/>
                  <a:pt x="2079215" y="6865535"/>
                </a:cubicBezTo>
                <a:lnTo>
                  <a:pt x="12031" y="6877567"/>
                </a:lnTo>
                <a:cubicBezTo>
                  <a:pt x="8021" y="4585045"/>
                  <a:pt x="4010" y="2292522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9" name="Kuv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  <p:sp>
        <p:nvSpPr>
          <p:cNvPr id="6" name="Otsikko 1">
            <a:extLst>
              <a:ext uri="{FF2B5EF4-FFF2-40B4-BE49-F238E27FC236}">
                <a16:creationId xmlns:a16="http://schemas.microsoft.com/office/drawing/2014/main" id="{7E4171C4-DD32-4377-8D67-FB1A197745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40463" y="333375"/>
            <a:ext cx="5472113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7" name="Tekstin paikkamerkki 10">
            <a:extLst>
              <a:ext uri="{FF2B5EF4-FFF2-40B4-BE49-F238E27FC236}">
                <a16:creationId xmlns:a16="http://schemas.microsoft.com/office/drawing/2014/main" id="{B9E7CB1E-D677-4A67-854A-864FFD0F81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4" y="1628775"/>
            <a:ext cx="5472112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1743938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, sisältö, kuvapaikk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7248130" y="333375"/>
            <a:ext cx="4464446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11" name="Tekstin paikkamerkki 10"/>
          <p:cNvSpPr>
            <a:spLocks noGrp="1"/>
          </p:cNvSpPr>
          <p:nvPr>
            <p:ph type="body" sz="quarter" idx="14"/>
          </p:nvPr>
        </p:nvSpPr>
        <p:spPr>
          <a:xfrm>
            <a:off x="7248130" y="1628775"/>
            <a:ext cx="446444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Kuvan paikkamerkki 19"/>
          <p:cNvSpPr>
            <a:spLocks noGrp="1"/>
          </p:cNvSpPr>
          <p:nvPr>
            <p:ph type="pic" sz="quarter" idx="13"/>
          </p:nvPr>
        </p:nvSpPr>
        <p:spPr>
          <a:xfrm>
            <a:off x="0" y="4497"/>
            <a:ext cx="6853504" cy="6853504"/>
          </a:xfrm>
          <a:prstGeom prst="flowChartDelay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10" name="Kuva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72575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917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_pattern-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79425" y="333375"/>
            <a:ext cx="7524750" cy="923925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fi-FI"/>
              <a:t>Muokkaa perustyyliä napsauttamalla</a:t>
            </a:r>
          </a:p>
        </p:txBody>
      </p:sp>
      <p:sp>
        <p:nvSpPr>
          <p:cNvPr id="9" name="Tekstin paikkamerkki 8"/>
          <p:cNvSpPr>
            <a:spLocks noGrp="1"/>
          </p:cNvSpPr>
          <p:nvPr>
            <p:ph type="body" sz="quarter" idx="14"/>
          </p:nvPr>
        </p:nvSpPr>
        <p:spPr>
          <a:xfrm>
            <a:off x="479425" y="1628775"/>
            <a:ext cx="5616575" cy="4321175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7" name="Kuvan paikkamerkki 58"/>
          <p:cNvSpPr>
            <a:spLocks noGrp="1"/>
          </p:cNvSpPr>
          <p:nvPr>
            <p:ph type="pic" sz="quarter" idx="13"/>
          </p:nvPr>
        </p:nvSpPr>
        <p:spPr>
          <a:xfrm>
            <a:off x="6646461" y="-538"/>
            <a:ext cx="5546031" cy="6864730"/>
          </a:xfrm>
          <a:custGeom>
            <a:avLst/>
            <a:gdLst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9719 w 5545537"/>
              <a:gd name="connsiteY42" fmla="*/ 4149617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76000 h 6876000"/>
              <a:gd name="connsiteX19" fmla="*/ 1609779 w 5545537"/>
              <a:gd name="connsiteY19" fmla="*/ 6858537 h 6876000"/>
              <a:gd name="connsiteX20" fmla="*/ 1069719 w 5545537"/>
              <a:gd name="connsiteY20" fmla="*/ 6858537 h 6876000"/>
              <a:gd name="connsiteX21" fmla="*/ 1069719 w 5545537"/>
              <a:gd name="connsiteY21" fmla="*/ 6318334 h 6876000"/>
              <a:gd name="connsiteX22" fmla="*/ 1069720 w 5545537"/>
              <a:gd name="connsiteY22" fmla="*/ 6318321 h 6876000"/>
              <a:gd name="connsiteX23" fmla="*/ 1069719 w 5545537"/>
              <a:gd name="connsiteY23" fmla="*/ 6318310 h 6876000"/>
              <a:gd name="connsiteX24" fmla="*/ 1069719 w 5545537"/>
              <a:gd name="connsiteY24" fmla="*/ 6237825 h 6876000"/>
              <a:gd name="connsiteX25" fmla="*/ 1062618 w 5545537"/>
              <a:gd name="connsiteY25" fmla="*/ 6237825 h 6876000"/>
              <a:gd name="connsiteX26" fmla="*/ 1061010 w 5545537"/>
              <a:gd name="connsiteY26" fmla="*/ 6219603 h 6876000"/>
              <a:gd name="connsiteX27" fmla="*/ 624433 w 5545537"/>
              <a:gd name="connsiteY27" fmla="*/ 5771972 h 6876000"/>
              <a:gd name="connsiteX28" fmla="*/ 529659 w 5545537"/>
              <a:gd name="connsiteY28" fmla="*/ 5762418 h 6876000"/>
              <a:gd name="connsiteX29" fmla="*/ 529659 w 5545537"/>
              <a:gd name="connsiteY29" fmla="*/ 5760642 h 6876000"/>
              <a:gd name="connsiteX30" fmla="*/ 512040 w 5545537"/>
              <a:gd name="connsiteY30" fmla="*/ 5760642 h 6876000"/>
              <a:gd name="connsiteX31" fmla="*/ 512040 w 5545537"/>
              <a:gd name="connsiteY31" fmla="*/ 5743975 h 6876000"/>
              <a:gd name="connsiteX32" fmla="*/ 426816 w 5545537"/>
              <a:gd name="connsiteY32" fmla="*/ 5735384 h 6876000"/>
              <a:gd name="connsiteX33" fmla="*/ 9971 w 5545537"/>
              <a:gd name="connsiteY33" fmla="*/ 5223932 h 6876000"/>
              <a:gd name="connsiteX34" fmla="*/ 426816 w 5545537"/>
              <a:gd name="connsiteY34" fmla="*/ 4712481 h 6876000"/>
              <a:gd name="connsiteX35" fmla="*/ 512040 w 5545537"/>
              <a:gd name="connsiteY35" fmla="*/ 4703889 h 6876000"/>
              <a:gd name="connsiteX36" fmla="*/ 512040 w 5545537"/>
              <a:gd name="connsiteY36" fmla="*/ 4703511 h 6876000"/>
              <a:gd name="connsiteX37" fmla="*/ 423086 w 5545537"/>
              <a:gd name="connsiteY37" fmla="*/ 4694544 h 6876000"/>
              <a:gd name="connsiteX38" fmla="*/ 0 w 5545537"/>
              <a:gd name="connsiteY38" fmla="*/ 4175435 h 6876000"/>
              <a:gd name="connsiteX39" fmla="*/ 529874 w 5545537"/>
              <a:gd name="connsiteY39" fmla="*/ 3645561 h 6876000"/>
              <a:gd name="connsiteX40" fmla="*/ 1048983 w 5545537"/>
              <a:gd name="connsiteY40" fmla="*/ 4068647 h 6876000"/>
              <a:gd name="connsiteX41" fmla="*/ 1057146 w 5545537"/>
              <a:gd name="connsiteY41" fmla="*/ 4149617 h 6876000"/>
              <a:gd name="connsiteX42" fmla="*/ 1066307 w 5545537"/>
              <a:gd name="connsiteY42" fmla="*/ 4347509 h 6876000"/>
              <a:gd name="connsiteX43" fmla="*/ 1069719 w 5545537"/>
              <a:gd name="connsiteY43" fmla="*/ 4620012 h 6876000"/>
              <a:gd name="connsiteX44" fmla="*/ 1095113 w 5545537"/>
              <a:gd name="connsiteY44" fmla="*/ 4538207 h 6876000"/>
              <a:gd name="connsiteX45" fmla="*/ 1576145 w 5545537"/>
              <a:gd name="connsiteY45" fmla="*/ 4219357 h 6876000"/>
              <a:gd name="connsiteX46" fmla="*/ 1609779 w 5545537"/>
              <a:gd name="connsiteY46" fmla="*/ 4222748 h 6876000"/>
              <a:gd name="connsiteX47" fmla="*/ 1609779 w 5545537"/>
              <a:gd name="connsiteY47" fmla="*/ 4205666 h 6876000"/>
              <a:gd name="connsiteX48" fmla="*/ 1577115 w 5545537"/>
              <a:gd name="connsiteY48" fmla="*/ 4208959 h 6876000"/>
              <a:gd name="connsiteX49" fmla="*/ 1055057 w 5545537"/>
              <a:gd name="connsiteY49" fmla="*/ 3686901 h 6876000"/>
              <a:gd name="connsiteX50" fmla="*/ 1577115 w 5545537"/>
              <a:gd name="connsiteY50" fmla="*/ 3164843 h 6876000"/>
              <a:gd name="connsiteX51" fmla="*/ 2088567 w 5545537"/>
              <a:gd name="connsiteY51" fmla="*/ 3581688 h 6876000"/>
              <a:gd name="connsiteX52" fmla="*/ 2098635 w 5545537"/>
              <a:gd name="connsiteY52" fmla="*/ 3681565 h 6876000"/>
              <a:gd name="connsiteX53" fmla="*/ 2113837 w 5545537"/>
              <a:gd name="connsiteY53" fmla="*/ 3681565 h 6876000"/>
              <a:gd name="connsiteX54" fmla="*/ 2113837 w 5545537"/>
              <a:gd name="connsiteY54" fmla="*/ 2637449 h 6876000"/>
              <a:gd name="connsiteX55" fmla="*/ 2114775 w 5545537"/>
              <a:gd name="connsiteY55" fmla="*/ 2637449 h 6876000"/>
              <a:gd name="connsiteX56" fmla="*/ 2113835 w 5545537"/>
              <a:gd name="connsiteY56" fmla="*/ 2628122 h 6876000"/>
              <a:gd name="connsiteX57" fmla="*/ 2635893 w 5545537"/>
              <a:gd name="connsiteY57" fmla="*/ 2106064 h 6876000"/>
              <a:gd name="connsiteX58" fmla="*/ 2649648 w 5545537"/>
              <a:gd name="connsiteY58" fmla="*/ 2107451 h 6876000"/>
              <a:gd name="connsiteX59" fmla="*/ 2649648 w 5545537"/>
              <a:gd name="connsiteY59" fmla="*/ 2090015 h 6876000"/>
              <a:gd name="connsiteX60" fmla="*/ 2635894 w 5545537"/>
              <a:gd name="connsiteY60" fmla="*/ 2091401 h 6876000"/>
              <a:gd name="connsiteX61" fmla="*/ 2113836 w 5545537"/>
              <a:gd name="connsiteY61" fmla="*/ 1569343 h 6876000"/>
              <a:gd name="connsiteX62" fmla="*/ 2635894 w 5545537"/>
              <a:gd name="connsiteY62" fmla="*/ 1047285 h 6876000"/>
              <a:gd name="connsiteX63" fmla="*/ 2649648 w 5545537"/>
              <a:gd name="connsiteY63" fmla="*/ 1048672 h 6876000"/>
              <a:gd name="connsiteX64" fmla="*/ 2649648 w 5545537"/>
              <a:gd name="connsiteY64" fmla="*/ 1043268 h 6876000"/>
              <a:gd name="connsiteX65" fmla="*/ 2689899 w 5545537"/>
              <a:gd name="connsiteY65" fmla="*/ 1039210 h 6876000"/>
              <a:gd name="connsiteX66" fmla="*/ 2689899 w 5545537"/>
              <a:gd name="connsiteY66" fmla="*/ 1038672 h 6876000"/>
              <a:gd name="connsiteX67" fmla="*/ 2635893 w 5545537"/>
              <a:gd name="connsiteY67" fmla="*/ 1044116 h 6876000"/>
              <a:gd name="connsiteX68" fmla="*/ 2113835 w 5545537"/>
              <a:gd name="connsiteY68" fmla="*/ 522058 h 6876000"/>
              <a:gd name="connsiteX69" fmla="*/ 2635893 w 5545537"/>
              <a:gd name="connsiteY6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2617891 w 5545537"/>
              <a:gd name="connsiteY17" fmla="*/ 6876000 h 6876000"/>
              <a:gd name="connsiteX18" fmla="*/ 1609779 w 5545537"/>
              <a:gd name="connsiteY18" fmla="*/ 6858537 h 6876000"/>
              <a:gd name="connsiteX19" fmla="*/ 1069719 w 5545537"/>
              <a:gd name="connsiteY19" fmla="*/ 6858537 h 6876000"/>
              <a:gd name="connsiteX20" fmla="*/ 1069719 w 5545537"/>
              <a:gd name="connsiteY20" fmla="*/ 6318334 h 6876000"/>
              <a:gd name="connsiteX21" fmla="*/ 1069720 w 5545537"/>
              <a:gd name="connsiteY21" fmla="*/ 6318321 h 6876000"/>
              <a:gd name="connsiteX22" fmla="*/ 1069719 w 5545537"/>
              <a:gd name="connsiteY22" fmla="*/ 6318310 h 6876000"/>
              <a:gd name="connsiteX23" fmla="*/ 1069719 w 5545537"/>
              <a:gd name="connsiteY23" fmla="*/ 6237825 h 6876000"/>
              <a:gd name="connsiteX24" fmla="*/ 1062618 w 5545537"/>
              <a:gd name="connsiteY24" fmla="*/ 6237825 h 6876000"/>
              <a:gd name="connsiteX25" fmla="*/ 1061010 w 5545537"/>
              <a:gd name="connsiteY25" fmla="*/ 6219603 h 6876000"/>
              <a:gd name="connsiteX26" fmla="*/ 624433 w 5545537"/>
              <a:gd name="connsiteY26" fmla="*/ 5771972 h 6876000"/>
              <a:gd name="connsiteX27" fmla="*/ 529659 w 5545537"/>
              <a:gd name="connsiteY27" fmla="*/ 5762418 h 6876000"/>
              <a:gd name="connsiteX28" fmla="*/ 529659 w 5545537"/>
              <a:gd name="connsiteY28" fmla="*/ 5760642 h 6876000"/>
              <a:gd name="connsiteX29" fmla="*/ 512040 w 5545537"/>
              <a:gd name="connsiteY29" fmla="*/ 5760642 h 6876000"/>
              <a:gd name="connsiteX30" fmla="*/ 512040 w 5545537"/>
              <a:gd name="connsiteY30" fmla="*/ 5743975 h 6876000"/>
              <a:gd name="connsiteX31" fmla="*/ 426816 w 5545537"/>
              <a:gd name="connsiteY31" fmla="*/ 5735384 h 6876000"/>
              <a:gd name="connsiteX32" fmla="*/ 9971 w 5545537"/>
              <a:gd name="connsiteY32" fmla="*/ 5223932 h 6876000"/>
              <a:gd name="connsiteX33" fmla="*/ 426816 w 5545537"/>
              <a:gd name="connsiteY33" fmla="*/ 4712481 h 6876000"/>
              <a:gd name="connsiteX34" fmla="*/ 512040 w 5545537"/>
              <a:gd name="connsiteY34" fmla="*/ 4703889 h 6876000"/>
              <a:gd name="connsiteX35" fmla="*/ 512040 w 5545537"/>
              <a:gd name="connsiteY35" fmla="*/ 4703511 h 6876000"/>
              <a:gd name="connsiteX36" fmla="*/ 423086 w 5545537"/>
              <a:gd name="connsiteY36" fmla="*/ 4694544 h 6876000"/>
              <a:gd name="connsiteX37" fmla="*/ 0 w 5545537"/>
              <a:gd name="connsiteY37" fmla="*/ 4175435 h 6876000"/>
              <a:gd name="connsiteX38" fmla="*/ 529874 w 5545537"/>
              <a:gd name="connsiteY38" fmla="*/ 3645561 h 6876000"/>
              <a:gd name="connsiteX39" fmla="*/ 1048983 w 5545537"/>
              <a:gd name="connsiteY39" fmla="*/ 4068647 h 6876000"/>
              <a:gd name="connsiteX40" fmla="*/ 1057146 w 5545537"/>
              <a:gd name="connsiteY40" fmla="*/ 4149617 h 6876000"/>
              <a:gd name="connsiteX41" fmla="*/ 1066307 w 5545537"/>
              <a:gd name="connsiteY41" fmla="*/ 4347509 h 6876000"/>
              <a:gd name="connsiteX42" fmla="*/ 1069719 w 5545537"/>
              <a:gd name="connsiteY42" fmla="*/ 4620012 h 6876000"/>
              <a:gd name="connsiteX43" fmla="*/ 1095113 w 5545537"/>
              <a:gd name="connsiteY43" fmla="*/ 4538207 h 6876000"/>
              <a:gd name="connsiteX44" fmla="*/ 1576145 w 5545537"/>
              <a:gd name="connsiteY44" fmla="*/ 4219357 h 6876000"/>
              <a:gd name="connsiteX45" fmla="*/ 1609779 w 5545537"/>
              <a:gd name="connsiteY45" fmla="*/ 4222748 h 6876000"/>
              <a:gd name="connsiteX46" fmla="*/ 1609779 w 5545537"/>
              <a:gd name="connsiteY46" fmla="*/ 4205666 h 6876000"/>
              <a:gd name="connsiteX47" fmla="*/ 1577115 w 5545537"/>
              <a:gd name="connsiteY47" fmla="*/ 4208959 h 6876000"/>
              <a:gd name="connsiteX48" fmla="*/ 1055057 w 5545537"/>
              <a:gd name="connsiteY48" fmla="*/ 3686901 h 6876000"/>
              <a:gd name="connsiteX49" fmla="*/ 1577115 w 5545537"/>
              <a:gd name="connsiteY49" fmla="*/ 3164843 h 6876000"/>
              <a:gd name="connsiteX50" fmla="*/ 2088567 w 5545537"/>
              <a:gd name="connsiteY50" fmla="*/ 3581688 h 6876000"/>
              <a:gd name="connsiteX51" fmla="*/ 2098635 w 5545537"/>
              <a:gd name="connsiteY51" fmla="*/ 3681565 h 6876000"/>
              <a:gd name="connsiteX52" fmla="*/ 2113837 w 5545537"/>
              <a:gd name="connsiteY52" fmla="*/ 3681565 h 6876000"/>
              <a:gd name="connsiteX53" fmla="*/ 2113837 w 5545537"/>
              <a:gd name="connsiteY53" fmla="*/ 2637449 h 6876000"/>
              <a:gd name="connsiteX54" fmla="*/ 2114775 w 5545537"/>
              <a:gd name="connsiteY54" fmla="*/ 2637449 h 6876000"/>
              <a:gd name="connsiteX55" fmla="*/ 2113835 w 5545537"/>
              <a:gd name="connsiteY55" fmla="*/ 2628122 h 6876000"/>
              <a:gd name="connsiteX56" fmla="*/ 2635893 w 5545537"/>
              <a:gd name="connsiteY56" fmla="*/ 2106064 h 6876000"/>
              <a:gd name="connsiteX57" fmla="*/ 2649648 w 5545537"/>
              <a:gd name="connsiteY57" fmla="*/ 2107451 h 6876000"/>
              <a:gd name="connsiteX58" fmla="*/ 2649648 w 5545537"/>
              <a:gd name="connsiteY58" fmla="*/ 2090015 h 6876000"/>
              <a:gd name="connsiteX59" fmla="*/ 2635894 w 5545537"/>
              <a:gd name="connsiteY59" fmla="*/ 2091401 h 6876000"/>
              <a:gd name="connsiteX60" fmla="*/ 2113836 w 5545537"/>
              <a:gd name="connsiteY60" fmla="*/ 1569343 h 6876000"/>
              <a:gd name="connsiteX61" fmla="*/ 2635894 w 5545537"/>
              <a:gd name="connsiteY61" fmla="*/ 1047285 h 6876000"/>
              <a:gd name="connsiteX62" fmla="*/ 2649648 w 5545537"/>
              <a:gd name="connsiteY62" fmla="*/ 1048672 h 6876000"/>
              <a:gd name="connsiteX63" fmla="*/ 2649648 w 5545537"/>
              <a:gd name="connsiteY63" fmla="*/ 1043268 h 6876000"/>
              <a:gd name="connsiteX64" fmla="*/ 2689899 w 5545537"/>
              <a:gd name="connsiteY64" fmla="*/ 1039210 h 6876000"/>
              <a:gd name="connsiteX65" fmla="*/ 2689899 w 5545537"/>
              <a:gd name="connsiteY65" fmla="*/ 1038672 h 6876000"/>
              <a:gd name="connsiteX66" fmla="*/ 2635893 w 5545537"/>
              <a:gd name="connsiteY66" fmla="*/ 1044116 h 6876000"/>
              <a:gd name="connsiteX67" fmla="*/ 2113835 w 5545537"/>
              <a:gd name="connsiteY67" fmla="*/ 522058 h 6876000"/>
              <a:gd name="connsiteX68" fmla="*/ 2635893 w 5545537"/>
              <a:gd name="connsiteY6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76000 h 6876000"/>
              <a:gd name="connsiteX15" fmla="*/ 2649648 w 5545537"/>
              <a:gd name="connsiteY15" fmla="*/ 6858537 h 6876000"/>
              <a:gd name="connsiteX16" fmla="*/ 2617891 w 5545537"/>
              <a:gd name="connsiteY16" fmla="*/ 6858537 h 6876000"/>
              <a:gd name="connsiteX17" fmla="*/ 1609779 w 5545537"/>
              <a:gd name="connsiteY17" fmla="*/ 6858537 h 6876000"/>
              <a:gd name="connsiteX18" fmla="*/ 1069719 w 5545537"/>
              <a:gd name="connsiteY18" fmla="*/ 6858537 h 6876000"/>
              <a:gd name="connsiteX19" fmla="*/ 1069719 w 5545537"/>
              <a:gd name="connsiteY19" fmla="*/ 6318334 h 6876000"/>
              <a:gd name="connsiteX20" fmla="*/ 1069720 w 5545537"/>
              <a:gd name="connsiteY20" fmla="*/ 6318321 h 6876000"/>
              <a:gd name="connsiteX21" fmla="*/ 1069719 w 5545537"/>
              <a:gd name="connsiteY21" fmla="*/ 6318310 h 6876000"/>
              <a:gd name="connsiteX22" fmla="*/ 1069719 w 5545537"/>
              <a:gd name="connsiteY22" fmla="*/ 6237825 h 6876000"/>
              <a:gd name="connsiteX23" fmla="*/ 1062618 w 5545537"/>
              <a:gd name="connsiteY23" fmla="*/ 6237825 h 6876000"/>
              <a:gd name="connsiteX24" fmla="*/ 1061010 w 5545537"/>
              <a:gd name="connsiteY24" fmla="*/ 6219603 h 6876000"/>
              <a:gd name="connsiteX25" fmla="*/ 624433 w 5545537"/>
              <a:gd name="connsiteY25" fmla="*/ 5771972 h 6876000"/>
              <a:gd name="connsiteX26" fmla="*/ 529659 w 5545537"/>
              <a:gd name="connsiteY26" fmla="*/ 5762418 h 6876000"/>
              <a:gd name="connsiteX27" fmla="*/ 529659 w 5545537"/>
              <a:gd name="connsiteY27" fmla="*/ 5760642 h 6876000"/>
              <a:gd name="connsiteX28" fmla="*/ 512040 w 5545537"/>
              <a:gd name="connsiteY28" fmla="*/ 5760642 h 6876000"/>
              <a:gd name="connsiteX29" fmla="*/ 512040 w 5545537"/>
              <a:gd name="connsiteY29" fmla="*/ 5743975 h 6876000"/>
              <a:gd name="connsiteX30" fmla="*/ 426816 w 5545537"/>
              <a:gd name="connsiteY30" fmla="*/ 5735384 h 6876000"/>
              <a:gd name="connsiteX31" fmla="*/ 9971 w 5545537"/>
              <a:gd name="connsiteY31" fmla="*/ 5223932 h 6876000"/>
              <a:gd name="connsiteX32" fmla="*/ 426816 w 5545537"/>
              <a:gd name="connsiteY32" fmla="*/ 4712481 h 6876000"/>
              <a:gd name="connsiteX33" fmla="*/ 512040 w 5545537"/>
              <a:gd name="connsiteY33" fmla="*/ 4703889 h 6876000"/>
              <a:gd name="connsiteX34" fmla="*/ 512040 w 5545537"/>
              <a:gd name="connsiteY34" fmla="*/ 4703511 h 6876000"/>
              <a:gd name="connsiteX35" fmla="*/ 423086 w 5545537"/>
              <a:gd name="connsiteY35" fmla="*/ 4694544 h 6876000"/>
              <a:gd name="connsiteX36" fmla="*/ 0 w 5545537"/>
              <a:gd name="connsiteY36" fmla="*/ 4175435 h 6876000"/>
              <a:gd name="connsiteX37" fmla="*/ 529874 w 5545537"/>
              <a:gd name="connsiteY37" fmla="*/ 3645561 h 6876000"/>
              <a:gd name="connsiteX38" fmla="*/ 1048983 w 5545537"/>
              <a:gd name="connsiteY38" fmla="*/ 4068647 h 6876000"/>
              <a:gd name="connsiteX39" fmla="*/ 1057146 w 5545537"/>
              <a:gd name="connsiteY39" fmla="*/ 4149617 h 6876000"/>
              <a:gd name="connsiteX40" fmla="*/ 1066307 w 5545537"/>
              <a:gd name="connsiteY40" fmla="*/ 4347509 h 6876000"/>
              <a:gd name="connsiteX41" fmla="*/ 1069719 w 5545537"/>
              <a:gd name="connsiteY41" fmla="*/ 4620012 h 6876000"/>
              <a:gd name="connsiteX42" fmla="*/ 1095113 w 5545537"/>
              <a:gd name="connsiteY42" fmla="*/ 4538207 h 6876000"/>
              <a:gd name="connsiteX43" fmla="*/ 1576145 w 5545537"/>
              <a:gd name="connsiteY43" fmla="*/ 4219357 h 6876000"/>
              <a:gd name="connsiteX44" fmla="*/ 1609779 w 5545537"/>
              <a:gd name="connsiteY44" fmla="*/ 4222748 h 6876000"/>
              <a:gd name="connsiteX45" fmla="*/ 1609779 w 5545537"/>
              <a:gd name="connsiteY45" fmla="*/ 4205666 h 6876000"/>
              <a:gd name="connsiteX46" fmla="*/ 1577115 w 5545537"/>
              <a:gd name="connsiteY46" fmla="*/ 4208959 h 6876000"/>
              <a:gd name="connsiteX47" fmla="*/ 1055057 w 5545537"/>
              <a:gd name="connsiteY47" fmla="*/ 3686901 h 6876000"/>
              <a:gd name="connsiteX48" fmla="*/ 1577115 w 5545537"/>
              <a:gd name="connsiteY48" fmla="*/ 3164843 h 6876000"/>
              <a:gd name="connsiteX49" fmla="*/ 2088567 w 5545537"/>
              <a:gd name="connsiteY49" fmla="*/ 3581688 h 6876000"/>
              <a:gd name="connsiteX50" fmla="*/ 2098635 w 5545537"/>
              <a:gd name="connsiteY50" fmla="*/ 3681565 h 6876000"/>
              <a:gd name="connsiteX51" fmla="*/ 2113837 w 5545537"/>
              <a:gd name="connsiteY51" fmla="*/ 3681565 h 6876000"/>
              <a:gd name="connsiteX52" fmla="*/ 2113837 w 5545537"/>
              <a:gd name="connsiteY52" fmla="*/ 2637449 h 6876000"/>
              <a:gd name="connsiteX53" fmla="*/ 2114775 w 5545537"/>
              <a:gd name="connsiteY53" fmla="*/ 2637449 h 6876000"/>
              <a:gd name="connsiteX54" fmla="*/ 2113835 w 5545537"/>
              <a:gd name="connsiteY54" fmla="*/ 2628122 h 6876000"/>
              <a:gd name="connsiteX55" fmla="*/ 2635893 w 5545537"/>
              <a:gd name="connsiteY55" fmla="*/ 2106064 h 6876000"/>
              <a:gd name="connsiteX56" fmla="*/ 2649648 w 5545537"/>
              <a:gd name="connsiteY56" fmla="*/ 2107451 h 6876000"/>
              <a:gd name="connsiteX57" fmla="*/ 2649648 w 5545537"/>
              <a:gd name="connsiteY57" fmla="*/ 2090015 h 6876000"/>
              <a:gd name="connsiteX58" fmla="*/ 2635894 w 5545537"/>
              <a:gd name="connsiteY58" fmla="*/ 2091401 h 6876000"/>
              <a:gd name="connsiteX59" fmla="*/ 2113836 w 5545537"/>
              <a:gd name="connsiteY59" fmla="*/ 1569343 h 6876000"/>
              <a:gd name="connsiteX60" fmla="*/ 2635894 w 5545537"/>
              <a:gd name="connsiteY60" fmla="*/ 1047285 h 6876000"/>
              <a:gd name="connsiteX61" fmla="*/ 2649648 w 5545537"/>
              <a:gd name="connsiteY61" fmla="*/ 1048672 h 6876000"/>
              <a:gd name="connsiteX62" fmla="*/ 2649648 w 5545537"/>
              <a:gd name="connsiteY62" fmla="*/ 1043268 h 6876000"/>
              <a:gd name="connsiteX63" fmla="*/ 2689899 w 5545537"/>
              <a:gd name="connsiteY63" fmla="*/ 1039210 h 6876000"/>
              <a:gd name="connsiteX64" fmla="*/ 2689899 w 5545537"/>
              <a:gd name="connsiteY64" fmla="*/ 1038672 h 6876000"/>
              <a:gd name="connsiteX65" fmla="*/ 2635893 w 5545537"/>
              <a:gd name="connsiteY65" fmla="*/ 1044116 h 6876000"/>
              <a:gd name="connsiteX66" fmla="*/ 2113835 w 5545537"/>
              <a:gd name="connsiteY66" fmla="*/ 522058 h 6876000"/>
              <a:gd name="connsiteX67" fmla="*/ 2635893 w 5545537"/>
              <a:gd name="connsiteY6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2618 w 5545537"/>
              <a:gd name="connsiteY22" fmla="*/ 6237825 h 6876000"/>
              <a:gd name="connsiteX23" fmla="*/ 1061010 w 5545537"/>
              <a:gd name="connsiteY23" fmla="*/ 6219603 h 6876000"/>
              <a:gd name="connsiteX24" fmla="*/ 624433 w 5545537"/>
              <a:gd name="connsiteY24" fmla="*/ 5771972 h 6876000"/>
              <a:gd name="connsiteX25" fmla="*/ 529659 w 5545537"/>
              <a:gd name="connsiteY25" fmla="*/ 5762418 h 6876000"/>
              <a:gd name="connsiteX26" fmla="*/ 529659 w 5545537"/>
              <a:gd name="connsiteY26" fmla="*/ 5760642 h 6876000"/>
              <a:gd name="connsiteX27" fmla="*/ 512040 w 5545537"/>
              <a:gd name="connsiteY27" fmla="*/ 5760642 h 6876000"/>
              <a:gd name="connsiteX28" fmla="*/ 512040 w 5545537"/>
              <a:gd name="connsiteY28" fmla="*/ 5743975 h 6876000"/>
              <a:gd name="connsiteX29" fmla="*/ 426816 w 5545537"/>
              <a:gd name="connsiteY29" fmla="*/ 5735384 h 6876000"/>
              <a:gd name="connsiteX30" fmla="*/ 9971 w 5545537"/>
              <a:gd name="connsiteY30" fmla="*/ 5223932 h 6876000"/>
              <a:gd name="connsiteX31" fmla="*/ 426816 w 5545537"/>
              <a:gd name="connsiteY31" fmla="*/ 4712481 h 6876000"/>
              <a:gd name="connsiteX32" fmla="*/ 512040 w 5545537"/>
              <a:gd name="connsiteY32" fmla="*/ 4703889 h 6876000"/>
              <a:gd name="connsiteX33" fmla="*/ 512040 w 5545537"/>
              <a:gd name="connsiteY33" fmla="*/ 4703511 h 6876000"/>
              <a:gd name="connsiteX34" fmla="*/ 423086 w 5545537"/>
              <a:gd name="connsiteY34" fmla="*/ 4694544 h 6876000"/>
              <a:gd name="connsiteX35" fmla="*/ 0 w 5545537"/>
              <a:gd name="connsiteY35" fmla="*/ 4175435 h 6876000"/>
              <a:gd name="connsiteX36" fmla="*/ 529874 w 5545537"/>
              <a:gd name="connsiteY36" fmla="*/ 3645561 h 6876000"/>
              <a:gd name="connsiteX37" fmla="*/ 1048983 w 5545537"/>
              <a:gd name="connsiteY37" fmla="*/ 4068647 h 6876000"/>
              <a:gd name="connsiteX38" fmla="*/ 1057146 w 5545537"/>
              <a:gd name="connsiteY38" fmla="*/ 4149617 h 6876000"/>
              <a:gd name="connsiteX39" fmla="*/ 1066307 w 5545537"/>
              <a:gd name="connsiteY39" fmla="*/ 4347509 h 6876000"/>
              <a:gd name="connsiteX40" fmla="*/ 1069719 w 5545537"/>
              <a:gd name="connsiteY40" fmla="*/ 4620012 h 6876000"/>
              <a:gd name="connsiteX41" fmla="*/ 1095113 w 5545537"/>
              <a:gd name="connsiteY41" fmla="*/ 4538207 h 6876000"/>
              <a:gd name="connsiteX42" fmla="*/ 1576145 w 5545537"/>
              <a:gd name="connsiteY42" fmla="*/ 4219357 h 6876000"/>
              <a:gd name="connsiteX43" fmla="*/ 1609779 w 5545537"/>
              <a:gd name="connsiteY43" fmla="*/ 4222748 h 6876000"/>
              <a:gd name="connsiteX44" fmla="*/ 1609779 w 5545537"/>
              <a:gd name="connsiteY44" fmla="*/ 4205666 h 6876000"/>
              <a:gd name="connsiteX45" fmla="*/ 1577115 w 5545537"/>
              <a:gd name="connsiteY45" fmla="*/ 4208959 h 6876000"/>
              <a:gd name="connsiteX46" fmla="*/ 1055057 w 5545537"/>
              <a:gd name="connsiteY46" fmla="*/ 3686901 h 6876000"/>
              <a:gd name="connsiteX47" fmla="*/ 1577115 w 5545537"/>
              <a:gd name="connsiteY47" fmla="*/ 3164843 h 6876000"/>
              <a:gd name="connsiteX48" fmla="*/ 2088567 w 5545537"/>
              <a:gd name="connsiteY48" fmla="*/ 3581688 h 6876000"/>
              <a:gd name="connsiteX49" fmla="*/ 2098635 w 5545537"/>
              <a:gd name="connsiteY49" fmla="*/ 3681565 h 6876000"/>
              <a:gd name="connsiteX50" fmla="*/ 2113837 w 5545537"/>
              <a:gd name="connsiteY50" fmla="*/ 3681565 h 6876000"/>
              <a:gd name="connsiteX51" fmla="*/ 2113837 w 5545537"/>
              <a:gd name="connsiteY51" fmla="*/ 2637449 h 6876000"/>
              <a:gd name="connsiteX52" fmla="*/ 2114775 w 5545537"/>
              <a:gd name="connsiteY52" fmla="*/ 2637449 h 6876000"/>
              <a:gd name="connsiteX53" fmla="*/ 2113835 w 5545537"/>
              <a:gd name="connsiteY53" fmla="*/ 2628122 h 6876000"/>
              <a:gd name="connsiteX54" fmla="*/ 2635893 w 5545537"/>
              <a:gd name="connsiteY54" fmla="*/ 2106064 h 6876000"/>
              <a:gd name="connsiteX55" fmla="*/ 2649648 w 5545537"/>
              <a:gd name="connsiteY55" fmla="*/ 2107451 h 6876000"/>
              <a:gd name="connsiteX56" fmla="*/ 2649648 w 5545537"/>
              <a:gd name="connsiteY56" fmla="*/ 2090015 h 6876000"/>
              <a:gd name="connsiteX57" fmla="*/ 2635894 w 5545537"/>
              <a:gd name="connsiteY57" fmla="*/ 2091401 h 6876000"/>
              <a:gd name="connsiteX58" fmla="*/ 2113836 w 5545537"/>
              <a:gd name="connsiteY58" fmla="*/ 1569343 h 6876000"/>
              <a:gd name="connsiteX59" fmla="*/ 2635894 w 5545537"/>
              <a:gd name="connsiteY59" fmla="*/ 1047285 h 6876000"/>
              <a:gd name="connsiteX60" fmla="*/ 2649648 w 5545537"/>
              <a:gd name="connsiteY60" fmla="*/ 1048672 h 6876000"/>
              <a:gd name="connsiteX61" fmla="*/ 2649648 w 5545537"/>
              <a:gd name="connsiteY61" fmla="*/ 1043268 h 6876000"/>
              <a:gd name="connsiteX62" fmla="*/ 2689899 w 5545537"/>
              <a:gd name="connsiteY62" fmla="*/ 1039210 h 6876000"/>
              <a:gd name="connsiteX63" fmla="*/ 2689899 w 5545537"/>
              <a:gd name="connsiteY63" fmla="*/ 1038672 h 6876000"/>
              <a:gd name="connsiteX64" fmla="*/ 2635893 w 5545537"/>
              <a:gd name="connsiteY64" fmla="*/ 1044116 h 6876000"/>
              <a:gd name="connsiteX65" fmla="*/ 2113835 w 5545537"/>
              <a:gd name="connsiteY65" fmla="*/ 522058 h 6876000"/>
              <a:gd name="connsiteX66" fmla="*/ 2635893 w 5545537"/>
              <a:gd name="connsiteY6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9719 w 5545537"/>
              <a:gd name="connsiteY21" fmla="*/ 6237825 h 6876000"/>
              <a:gd name="connsiteX22" fmla="*/ 1061010 w 5545537"/>
              <a:gd name="connsiteY22" fmla="*/ 6219603 h 6876000"/>
              <a:gd name="connsiteX23" fmla="*/ 624433 w 5545537"/>
              <a:gd name="connsiteY23" fmla="*/ 5771972 h 6876000"/>
              <a:gd name="connsiteX24" fmla="*/ 529659 w 5545537"/>
              <a:gd name="connsiteY24" fmla="*/ 5762418 h 6876000"/>
              <a:gd name="connsiteX25" fmla="*/ 529659 w 5545537"/>
              <a:gd name="connsiteY25" fmla="*/ 5760642 h 6876000"/>
              <a:gd name="connsiteX26" fmla="*/ 512040 w 5545537"/>
              <a:gd name="connsiteY26" fmla="*/ 5760642 h 6876000"/>
              <a:gd name="connsiteX27" fmla="*/ 512040 w 5545537"/>
              <a:gd name="connsiteY27" fmla="*/ 5743975 h 6876000"/>
              <a:gd name="connsiteX28" fmla="*/ 426816 w 5545537"/>
              <a:gd name="connsiteY28" fmla="*/ 5735384 h 6876000"/>
              <a:gd name="connsiteX29" fmla="*/ 9971 w 5545537"/>
              <a:gd name="connsiteY29" fmla="*/ 5223932 h 6876000"/>
              <a:gd name="connsiteX30" fmla="*/ 426816 w 5545537"/>
              <a:gd name="connsiteY30" fmla="*/ 4712481 h 6876000"/>
              <a:gd name="connsiteX31" fmla="*/ 512040 w 5545537"/>
              <a:gd name="connsiteY31" fmla="*/ 4703889 h 6876000"/>
              <a:gd name="connsiteX32" fmla="*/ 512040 w 5545537"/>
              <a:gd name="connsiteY32" fmla="*/ 4703511 h 6876000"/>
              <a:gd name="connsiteX33" fmla="*/ 423086 w 5545537"/>
              <a:gd name="connsiteY33" fmla="*/ 4694544 h 6876000"/>
              <a:gd name="connsiteX34" fmla="*/ 0 w 5545537"/>
              <a:gd name="connsiteY34" fmla="*/ 4175435 h 6876000"/>
              <a:gd name="connsiteX35" fmla="*/ 529874 w 5545537"/>
              <a:gd name="connsiteY35" fmla="*/ 3645561 h 6876000"/>
              <a:gd name="connsiteX36" fmla="*/ 1048983 w 5545537"/>
              <a:gd name="connsiteY36" fmla="*/ 4068647 h 6876000"/>
              <a:gd name="connsiteX37" fmla="*/ 1057146 w 5545537"/>
              <a:gd name="connsiteY37" fmla="*/ 4149617 h 6876000"/>
              <a:gd name="connsiteX38" fmla="*/ 1066307 w 5545537"/>
              <a:gd name="connsiteY38" fmla="*/ 4347509 h 6876000"/>
              <a:gd name="connsiteX39" fmla="*/ 1069719 w 5545537"/>
              <a:gd name="connsiteY39" fmla="*/ 4620012 h 6876000"/>
              <a:gd name="connsiteX40" fmla="*/ 1095113 w 5545537"/>
              <a:gd name="connsiteY40" fmla="*/ 4538207 h 6876000"/>
              <a:gd name="connsiteX41" fmla="*/ 1576145 w 5545537"/>
              <a:gd name="connsiteY41" fmla="*/ 4219357 h 6876000"/>
              <a:gd name="connsiteX42" fmla="*/ 1609779 w 5545537"/>
              <a:gd name="connsiteY42" fmla="*/ 4222748 h 6876000"/>
              <a:gd name="connsiteX43" fmla="*/ 1609779 w 5545537"/>
              <a:gd name="connsiteY43" fmla="*/ 4205666 h 6876000"/>
              <a:gd name="connsiteX44" fmla="*/ 1577115 w 5545537"/>
              <a:gd name="connsiteY44" fmla="*/ 4208959 h 6876000"/>
              <a:gd name="connsiteX45" fmla="*/ 1055057 w 5545537"/>
              <a:gd name="connsiteY45" fmla="*/ 3686901 h 6876000"/>
              <a:gd name="connsiteX46" fmla="*/ 1577115 w 5545537"/>
              <a:gd name="connsiteY46" fmla="*/ 3164843 h 6876000"/>
              <a:gd name="connsiteX47" fmla="*/ 2088567 w 5545537"/>
              <a:gd name="connsiteY47" fmla="*/ 3581688 h 6876000"/>
              <a:gd name="connsiteX48" fmla="*/ 2098635 w 5545537"/>
              <a:gd name="connsiteY48" fmla="*/ 3681565 h 6876000"/>
              <a:gd name="connsiteX49" fmla="*/ 2113837 w 5545537"/>
              <a:gd name="connsiteY49" fmla="*/ 3681565 h 6876000"/>
              <a:gd name="connsiteX50" fmla="*/ 2113837 w 5545537"/>
              <a:gd name="connsiteY50" fmla="*/ 2637449 h 6876000"/>
              <a:gd name="connsiteX51" fmla="*/ 2114775 w 5545537"/>
              <a:gd name="connsiteY51" fmla="*/ 2637449 h 6876000"/>
              <a:gd name="connsiteX52" fmla="*/ 2113835 w 5545537"/>
              <a:gd name="connsiteY52" fmla="*/ 2628122 h 6876000"/>
              <a:gd name="connsiteX53" fmla="*/ 2635893 w 5545537"/>
              <a:gd name="connsiteY53" fmla="*/ 2106064 h 6876000"/>
              <a:gd name="connsiteX54" fmla="*/ 2649648 w 5545537"/>
              <a:gd name="connsiteY54" fmla="*/ 2107451 h 6876000"/>
              <a:gd name="connsiteX55" fmla="*/ 2649648 w 5545537"/>
              <a:gd name="connsiteY55" fmla="*/ 2090015 h 6876000"/>
              <a:gd name="connsiteX56" fmla="*/ 2635894 w 5545537"/>
              <a:gd name="connsiteY56" fmla="*/ 2091401 h 6876000"/>
              <a:gd name="connsiteX57" fmla="*/ 2113836 w 5545537"/>
              <a:gd name="connsiteY57" fmla="*/ 1569343 h 6876000"/>
              <a:gd name="connsiteX58" fmla="*/ 2635894 w 5545537"/>
              <a:gd name="connsiteY58" fmla="*/ 1047285 h 6876000"/>
              <a:gd name="connsiteX59" fmla="*/ 2649648 w 5545537"/>
              <a:gd name="connsiteY59" fmla="*/ 1048672 h 6876000"/>
              <a:gd name="connsiteX60" fmla="*/ 2649648 w 5545537"/>
              <a:gd name="connsiteY60" fmla="*/ 1043268 h 6876000"/>
              <a:gd name="connsiteX61" fmla="*/ 2689899 w 5545537"/>
              <a:gd name="connsiteY61" fmla="*/ 1039210 h 6876000"/>
              <a:gd name="connsiteX62" fmla="*/ 2689899 w 5545537"/>
              <a:gd name="connsiteY62" fmla="*/ 1038672 h 6876000"/>
              <a:gd name="connsiteX63" fmla="*/ 2635893 w 5545537"/>
              <a:gd name="connsiteY63" fmla="*/ 1044116 h 6876000"/>
              <a:gd name="connsiteX64" fmla="*/ 2113835 w 5545537"/>
              <a:gd name="connsiteY64" fmla="*/ 522058 h 6876000"/>
              <a:gd name="connsiteX65" fmla="*/ 2635893 w 5545537"/>
              <a:gd name="connsiteY65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60642 h 6876000"/>
              <a:gd name="connsiteX26" fmla="*/ 512040 w 5545537"/>
              <a:gd name="connsiteY26" fmla="*/ 5743975 h 6876000"/>
              <a:gd name="connsiteX27" fmla="*/ 426816 w 5545537"/>
              <a:gd name="connsiteY27" fmla="*/ 5735384 h 6876000"/>
              <a:gd name="connsiteX28" fmla="*/ 9971 w 5545537"/>
              <a:gd name="connsiteY28" fmla="*/ 5223932 h 6876000"/>
              <a:gd name="connsiteX29" fmla="*/ 426816 w 5545537"/>
              <a:gd name="connsiteY29" fmla="*/ 4712481 h 6876000"/>
              <a:gd name="connsiteX30" fmla="*/ 512040 w 5545537"/>
              <a:gd name="connsiteY30" fmla="*/ 4703889 h 6876000"/>
              <a:gd name="connsiteX31" fmla="*/ 512040 w 5545537"/>
              <a:gd name="connsiteY31" fmla="*/ 4703511 h 6876000"/>
              <a:gd name="connsiteX32" fmla="*/ 423086 w 5545537"/>
              <a:gd name="connsiteY32" fmla="*/ 4694544 h 6876000"/>
              <a:gd name="connsiteX33" fmla="*/ 0 w 5545537"/>
              <a:gd name="connsiteY33" fmla="*/ 4175435 h 6876000"/>
              <a:gd name="connsiteX34" fmla="*/ 529874 w 5545537"/>
              <a:gd name="connsiteY34" fmla="*/ 3645561 h 6876000"/>
              <a:gd name="connsiteX35" fmla="*/ 1048983 w 5545537"/>
              <a:gd name="connsiteY35" fmla="*/ 4068647 h 6876000"/>
              <a:gd name="connsiteX36" fmla="*/ 1057146 w 5545537"/>
              <a:gd name="connsiteY36" fmla="*/ 4149617 h 6876000"/>
              <a:gd name="connsiteX37" fmla="*/ 1066307 w 5545537"/>
              <a:gd name="connsiteY37" fmla="*/ 4347509 h 6876000"/>
              <a:gd name="connsiteX38" fmla="*/ 1069719 w 5545537"/>
              <a:gd name="connsiteY38" fmla="*/ 4620012 h 6876000"/>
              <a:gd name="connsiteX39" fmla="*/ 1095113 w 5545537"/>
              <a:gd name="connsiteY39" fmla="*/ 4538207 h 6876000"/>
              <a:gd name="connsiteX40" fmla="*/ 1576145 w 5545537"/>
              <a:gd name="connsiteY40" fmla="*/ 4219357 h 6876000"/>
              <a:gd name="connsiteX41" fmla="*/ 1609779 w 5545537"/>
              <a:gd name="connsiteY41" fmla="*/ 4222748 h 6876000"/>
              <a:gd name="connsiteX42" fmla="*/ 1609779 w 5545537"/>
              <a:gd name="connsiteY42" fmla="*/ 4205666 h 6876000"/>
              <a:gd name="connsiteX43" fmla="*/ 1577115 w 5545537"/>
              <a:gd name="connsiteY43" fmla="*/ 4208959 h 6876000"/>
              <a:gd name="connsiteX44" fmla="*/ 1055057 w 5545537"/>
              <a:gd name="connsiteY44" fmla="*/ 3686901 h 6876000"/>
              <a:gd name="connsiteX45" fmla="*/ 1577115 w 5545537"/>
              <a:gd name="connsiteY45" fmla="*/ 3164843 h 6876000"/>
              <a:gd name="connsiteX46" fmla="*/ 2088567 w 5545537"/>
              <a:gd name="connsiteY46" fmla="*/ 3581688 h 6876000"/>
              <a:gd name="connsiteX47" fmla="*/ 2098635 w 5545537"/>
              <a:gd name="connsiteY47" fmla="*/ 3681565 h 6876000"/>
              <a:gd name="connsiteX48" fmla="*/ 2113837 w 5545537"/>
              <a:gd name="connsiteY48" fmla="*/ 3681565 h 6876000"/>
              <a:gd name="connsiteX49" fmla="*/ 2113837 w 5545537"/>
              <a:gd name="connsiteY49" fmla="*/ 2637449 h 6876000"/>
              <a:gd name="connsiteX50" fmla="*/ 2114775 w 5545537"/>
              <a:gd name="connsiteY50" fmla="*/ 2637449 h 6876000"/>
              <a:gd name="connsiteX51" fmla="*/ 2113835 w 5545537"/>
              <a:gd name="connsiteY51" fmla="*/ 2628122 h 6876000"/>
              <a:gd name="connsiteX52" fmla="*/ 2635893 w 5545537"/>
              <a:gd name="connsiteY52" fmla="*/ 2106064 h 6876000"/>
              <a:gd name="connsiteX53" fmla="*/ 2649648 w 5545537"/>
              <a:gd name="connsiteY53" fmla="*/ 2107451 h 6876000"/>
              <a:gd name="connsiteX54" fmla="*/ 2649648 w 5545537"/>
              <a:gd name="connsiteY54" fmla="*/ 2090015 h 6876000"/>
              <a:gd name="connsiteX55" fmla="*/ 2635894 w 5545537"/>
              <a:gd name="connsiteY55" fmla="*/ 2091401 h 6876000"/>
              <a:gd name="connsiteX56" fmla="*/ 2113836 w 5545537"/>
              <a:gd name="connsiteY56" fmla="*/ 1569343 h 6876000"/>
              <a:gd name="connsiteX57" fmla="*/ 2635894 w 5545537"/>
              <a:gd name="connsiteY57" fmla="*/ 1047285 h 6876000"/>
              <a:gd name="connsiteX58" fmla="*/ 2649648 w 5545537"/>
              <a:gd name="connsiteY58" fmla="*/ 1048672 h 6876000"/>
              <a:gd name="connsiteX59" fmla="*/ 2649648 w 5545537"/>
              <a:gd name="connsiteY59" fmla="*/ 1043268 h 6876000"/>
              <a:gd name="connsiteX60" fmla="*/ 2689899 w 5545537"/>
              <a:gd name="connsiteY60" fmla="*/ 1039210 h 6876000"/>
              <a:gd name="connsiteX61" fmla="*/ 2689899 w 5545537"/>
              <a:gd name="connsiteY61" fmla="*/ 1038672 h 6876000"/>
              <a:gd name="connsiteX62" fmla="*/ 2635893 w 5545537"/>
              <a:gd name="connsiteY62" fmla="*/ 1044116 h 6876000"/>
              <a:gd name="connsiteX63" fmla="*/ 2113835 w 5545537"/>
              <a:gd name="connsiteY63" fmla="*/ 522058 h 6876000"/>
              <a:gd name="connsiteX64" fmla="*/ 2635893 w 5545537"/>
              <a:gd name="connsiteY64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29659 w 5545537"/>
              <a:gd name="connsiteY24" fmla="*/ 5760642 h 6876000"/>
              <a:gd name="connsiteX25" fmla="*/ 512040 w 5545537"/>
              <a:gd name="connsiteY25" fmla="*/ 5743975 h 6876000"/>
              <a:gd name="connsiteX26" fmla="*/ 426816 w 5545537"/>
              <a:gd name="connsiteY26" fmla="*/ 5735384 h 6876000"/>
              <a:gd name="connsiteX27" fmla="*/ 9971 w 5545537"/>
              <a:gd name="connsiteY27" fmla="*/ 5223932 h 6876000"/>
              <a:gd name="connsiteX28" fmla="*/ 426816 w 5545537"/>
              <a:gd name="connsiteY28" fmla="*/ 4712481 h 6876000"/>
              <a:gd name="connsiteX29" fmla="*/ 512040 w 5545537"/>
              <a:gd name="connsiteY29" fmla="*/ 4703889 h 6876000"/>
              <a:gd name="connsiteX30" fmla="*/ 512040 w 5545537"/>
              <a:gd name="connsiteY30" fmla="*/ 4703511 h 6876000"/>
              <a:gd name="connsiteX31" fmla="*/ 423086 w 5545537"/>
              <a:gd name="connsiteY31" fmla="*/ 4694544 h 6876000"/>
              <a:gd name="connsiteX32" fmla="*/ 0 w 5545537"/>
              <a:gd name="connsiteY32" fmla="*/ 4175435 h 6876000"/>
              <a:gd name="connsiteX33" fmla="*/ 529874 w 5545537"/>
              <a:gd name="connsiteY33" fmla="*/ 3645561 h 6876000"/>
              <a:gd name="connsiteX34" fmla="*/ 1048983 w 5545537"/>
              <a:gd name="connsiteY34" fmla="*/ 4068647 h 6876000"/>
              <a:gd name="connsiteX35" fmla="*/ 1057146 w 5545537"/>
              <a:gd name="connsiteY35" fmla="*/ 4149617 h 6876000"/>
              <a:gd name="connsiteX36" fmla="*/ 1066307 w 5545537"/>
              <a:gd name="connsiteY36" fmla="*/ 4347509 h 6876000"/>
              <a:gd name="connsiteX37" fmla="*/ 1069719 w 5545537"/>
              <a:gd name="connsiteY37" fmla="*/ 4620012 h 6876000"/>
              <a:gd name="connsiteX38" fmla="*/ 1095113 w 5545537"/>
              <a:gd name="connsiteY38" fmla="*/ 4538207 h 6876000"/>
              <a:gd name="connsiteX39" fmla="*/ 1576145 w 5545537"/>
              <a:gd name="connsiteY39" fmla="*/ 4219357 h 6876000"/>
              <a:gd name="connsiteX40" fmla="*/ 1609779 w 5545537"/>
              <a:gd name="connsiteY40" fmla="*/ 4222748 h 6876000"/>
              <a:gd name="connsiteX41" fmla="*/ 1609779 w 5545537"/>
              <a:gd name="connsiteY41" fmla="*/ 4205666 h 6876000"/>
              <a:gd name="connsiteX42" fmla="*/ 1577115 w 5545537"/>
              <a:gd name="connsiteY42" fmla="*/ 4208959 h 6876000"/>
              <a:gd name="connsiteX43" fmla="*/ 1055057 w 5545537"/>
              <a:gd name="connsiteY43" fmla="*/ 3686901 h 6876000"/>
              <a:gd name="connsiteX44" fmla="*/ 1577115 w 5545537"/>
              <a:gd name="connsiteY44" fmla="*/ 3164843 h 6876000"/>
              <a:gd name="connsiteX45" fmla="*/ 2088567 w 5545537"/>
              <a:gd name="connsiteY45" fmla="*/ 3581688 h 6876000"/>
              <a:gd name="connsiteX46" fmla="*/ 2098635 w 5545537"/>
              <a:gd name="connsiteY46" fmla="*/ 3681565 h 6876000"/>
              <a:gd name="connsiteX47" fmla="*/ 2113837 w 5545537"/>
              <a:gd name="connsiteY47" fmla="*/ 3681565 h 6876000"/>
              <a:gd name="connsiteX48" fmla="*/ 2113837 w 5545537"/>
              <a:gd name="connsiteY48" fmla="*/ 2637449 h 6876000"/>
              <a:gd name="connsiteX49" fmla="*/ 2114775 w 5545537"/>
              <a:gd name="connsiteY49" fmla="*/ 2637449 h 6876000"/>
              <a:gd name="connsiteX50" fmla="*/ 2113835 w 5545537"/>
              <a:gd name="connsiteY50" fmla="*/ 2628122 h 6876000"/>
              <a:gd name="connsiteX51" fmla="*/ 2635893 w 5545537"/>
              <a:gd name="connsiteY51" fmla="*/ 2106064 h 6876000"/>
              <a:gd name="connsiteX52" fmla="*/ 2649648 w 5545537"/>
              <a:gd name="connsiteY52" fmla="*/ 2107451 h 6876000"/>
              <a:gd name="connsiteX53" fmla="*/ 2649648 w 5545537"/>
              <a:gd name="connsiteY53" fmla="*/ 2090015 h 6876000"/>
              <a:gd name="connsiteX54" fmla="*/ 2635894 w 5545537"/>
              <a:gd name="connsiteY54" fmla="*/ 2091401 h 6876000"/>
              <a:gd name="connsiteX55" fmla="*/ 2113836 w 5545537"/>
              <a:gd name="connsiteY55" fmla="*/ 1569343 h 6876000"/>
              <a:gd name="connsiteX56" fmla="*/ 2635894 w 5545537"/>
              <a:gd name="connsiteY56" fmla="*/ 1047285 h 6876000"/>
              <a:gd name="connsiteX57" fmla="*/ 2649648 w 5545537"/>
              <a:gd name="connsiteY57" fmla="*/ 1048672 h 6876000"/>
              <a:gd name="connsiteX58" fmla="*/ 2649648 w 5545537"/>
              <a:gd name="connsiteY58" fmla="*/ 1043268 h 6876000"/>
              <a:gd name="connsiteX59" fmla="*/ 2689899 w 5545537"/>
              <a:gd name="connsiteY59" fmla="*/ 1039210 h 6876000"/>
              <a:gd name="connsiteX60" fmla="*/ 2689899 w 5545537"/>
              <a:gd name="connsiteY60" fmla="*/ 1038672 h 6876000"/>
              <a:gd name="connsiteX61" fmla="*/ 2635893 w 5545537"/>
              <a:gd name="connsiteY61" fmla="*/ 1044116 h 6876000"/>
              <a:gd name="connsiteX62" fmla="*/ 2113835 w 5545537"/>
              <a:gd name="connsiteY62" fmla="*/ 522058 h 6876000"/>
              <a:gd name="connsiteX63" fmla="*/ 2635893 w 5545537"/>
              <a:gd name="connsiteY63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512040 w 5545537"/>
              <a:gd name="connsiteY24" fmla="*/ 5743975 h 6876000"/>
              <a:gd name="connsiteX25" fmla="*/ 426816 w 5545537"/>
              <a:gd name="connsiteY25" fmla="*/ 5735384 h 6876000"/>
              <a:gd name="connsiteX26" fmla="*/ 9971 w 5545537"/>
              <a:gd name="connsiteY26" fmla="*/ 5223932 h 6876000"/>
              <a:gd name="connsiteX27" fmla="*/ 426816 w 5545537"/>
              <a:gd name="connsiteY27" fmla="*/ 4712481 h 6876000"/>
              <a:gd name="connsiteX28" fmla="*/ 512040 w 5545537"/>
              <a:gd name="connsiteY28" fmla="*/ 4703889 h 6876000"/>
              <a:gd name="connsiteX29" fmla="*/ 512040 w 5545537"/>
              <a:gd name="connsiteY29" fmla="*/ 4703511 h 6876000"/>
              <a:gd name="connsiteX30" fmla="*/ 423086 w 5545537"/>
              <a:gd name="connsiteY30" fmla="*/ 4694544 h 6876000"/>
              <a:gd name="connsiteX31" fmla="*/ 0 w 5545537"/>
              <a:gd name="connsiteY31" fmla="*/ 4175435 h 6876000"/>
              <a:gd name="connsiteX32" fmla="*/ 529874 w 5545537"/>
              <a:gd name="connsiteY32" fmla="*/ 3645561 h 6876000"/>
              <a:gd name="connsiteX33" fmla="*/ 1048983 w 5545537"/>
              <a:gd name="connsiteY33" fmla="*/ 4068647 h 6876000"/>
              <a:gd name="connsiteX34" fmla="*/ 1057146 w 5545537"/>
              <a:gd name="connsiteY34" fmla="*/ 4149617 h 6876000"/>
              <a:gd name="connsiteX35" fmla="*/ 1066307 w 5545537"/>
              <a:gd name="connsiteY35" fmla="*/ 4347509 h 6876000"/>
              <a:gd name="connsiteX36" fmla="*/ 1069719 w 5545537"/>
              <a:gd name="connsiteY36" fmla="*/ 4620012 h 6876000"/>
              <a:gd name="connsiteX37" fmla="*/ 1095113 w 5545537"/>
              <a:gd name="connsiteY37" fmla="*/ 4538207 h 6876000"/>
              <a:gd name="connsiteX38" fmla="*/ 1576145 w 5545537"/>
              <a:gd name="connsiteY38" fmla="*/ 4219357 h 6876000"/>
              <a:gd name="connsiteX39" fmla="*/ 1609779 w 5545537"/>
              <a:gd name="connsiteY39" fmla="*/ 4222748 h 6876000"/>
              <a:gd name="connsiteX40" fmla="*/ 1609779 w 5545537"/>
              <a:gd name="connsiteY40" fmla="*/ 4205666 h 6876000"/>
              <a:gd name="connsiteX41" fmla="*/ 1577115 w 5545537"/>
              <a:gd name="connsiteY41" fmla="*/ 4208959 h 6876000"/>
              <a:gd name="connsiteX42" fmla="*/ 1055057 w 5545537"/>
              <a:gd name="connsiteY42" fmla="*/ 3686901 h 6876000"/>
              <a:gd name="connsiteX43" fmla="*/ 1577115 w 5545537"/>
              <a:gd name="connsiteY43" fmla="*/ 3164843 h 6876000"/>
              <a:gd name="connsiteX44" fmla="*/ 2088567 w 5545537"/>
              <a:gd name="connsiteY44" fmla="*/ 3581688 h 6876000"/>
              <a:gd name="connsiteX45" fmla="*/ 2098635 w 5545537"/>
              <a:gd name="connsiteY45" fmla="*/ 3681565 h 6876000"/>
              <a:gd name="connsiteX46" fmla="*/ 2113837 w 5545537"/>
              <a:gd name="connsiteY46" fmla="*/ 3681565 h 6876000"/>
              <a:gd name="connsiteX47" fmla="*/ 2113837 w 5545537"/>
              <a:gd name="connsiteY47" fmla="*/ 2637449 h 6876000"/>
              <a:gd name="connsiteX48" fmla="*/ 2114775 w 5545537"/>
              <a:gd name="connsiteY48" fmla="*/ 2637449 h 6876000"/>
              <a:gd name="connsiteX49" fmla="*/ 2113835 w 5545537"/>
              <a:gd name="connsiteY49" fmla="*/ 2628122 h 6876000"/>
              <a:gd name="connsiteX50" fmla="*/ 2635893 w 5545537"/>
              <a:gd name="connsiteY50" fmla="*/ 2106064 h 6876000"/>
              <a:gd name="connsiteX51" fmla="*/ 2649648 w 5545537"/>
              <a:gd name="connsiteY51" fmla="*/ 2107451 h 6876000"/>
              <a:gd name="connsiteX52" fmla="*/ 2649648 w 5545537"/>
              <a:gd name="connsiteY52" fmla="*/ 2090015 h 6876000"/>
              <a:gd name="connsiteX53" fmla="*/ 2635894 w 5545537"/>
              <a:gd name="connsiteY53" fmla="*/ 2091401 h 6876000"/>
              <a:gd name="connsiteX54" fmla="*/ 2113836 w 5545537"/>
              <a:gd name="connsiteY54" fmla="*/ 1569343 h 6876000"/>
              <a:gd name="connsiteX55" fmla="*/ 2635894 w 5545537"/>
              <a:gd name="connsiteY55" fmla="*/ 1047285 h 6876000"/>
              <a:gd name="connsiteX56" fmla="*/ 2649648 w 5545537"/>
              <a:gd name="connsiteY56" fmla="*/ 1048672 h 6876000"/>
              <a:gd name="connsiteX57" fmla="*/ 2649648 w 5545537"/>
              <a:gd name="connsiteY57" fmla="*/ 1043268 h 6876000"/>
              <a:gd name="connsiteX58" fmla="*/ 2689899 w 5545537"/>
              <a:gd name="connsiteY58" fmla="*/ 1039210 h 6876000"/>
              <a:gd name="connsiteX59" fmla="*/ 2689899 w 5545537"/>
              <a:gd name="connsiteY59" fmla="*/ 1038672 h 6876000"/>
              <a:gd name="connsiteX60" fmla="*/ 2635893 w 5545537"/>
              <a:gd name="connsiteY60" fmla="*/ 1044116 h 6876000"/>
              <a:gd name="connsiteX61" fmla="*/ 2113835 w 5545537"/>
              <a:gd name="connsiteY61" fmla="*/ 522058 h 6876000"/>
              <a:gd name="connsiteX62" fmla="*/ 2635893 w 5545537"/>
              <a:gd name="connsiteY62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6307 w 5545537"/>
              <a:gd name="connsiteY34" fmla="*/ 4347509 h 6876000"/>
              <a:gd name="connsiteX35" fmla="*/ 1069719 w 5545537"/>
              <a:gd name="connsiteY35" fmla="*/ 4620012 h 6876000"/>
              <a:gd name="connsiteX36" fmla="*/ 1095113 w 5545537"/>
              <a:gd name="connsiteY36" fmla="*/ 4538207 h 6876000"/>
              <a:gd name="connsiteX37" fmla="*/ 1576145 w 5545537"/>
              <a:gd name="connsiteY37" fmla="*/ 4219357 h 6876000"/>
              <a:gd name="connsiteX38" fmla="*/ 1609779 w 5545537"/>
              <a:gd name="connsiteY38" fmla="*/ 4222748 h 6876000"/>
              <a:gd name="connsiteX39" fmla="*/ 1609779 w 5545537"/>
              <a:gd name="connsiteY39" fmla="*/ 4205666 h 6876000"/>
              <a:gd name="connsiteX40" fmla="*/ 1577115 w 5545537"/>
              <a:gd name="connsiteY40" fmla="*/ 4208959 h 6876000"/>
              <a:gd name="connsiteX41" fmla="*/ 1055057 w 5545537"/>
              <a:gd name="connsiteY41" fmla="*/ 3686901 h 6876000"/>
              <a:gd name="connsiteX42" fmla="*/ 1577115 w 5545537"/>
              <a:gd name="connsiteY42" fmla="*/ 3164843 h 6876000"/>
              <a:gd name="connsiteX43" fmla="*/ 2088567 w 5545537"/>
              <a:gd name="connsiteY43" fmla="*/ 3581688 h 6876000"/>
              <a:gd name="connsiteX44" fmla="*/ 2098635 w 5545537"/>
              <a:gd name="connsiteY44" fmla="*/ 3681565 h 6876000"/>
              <a:gd name="connsiteX45" fmla="*/ 2113837 w 5545537"/>
              <a:gd name="connsiteY45" fmla="*/ 3681565 h 6876000"/>
              <a:gd name="connsiteX46" fmla="*/ 2113837 w 5545537"/>
              <a:gd name="connsiteY46" fmla="*/ 2637449 h 6876000"/>
              <a:gd name="connsiteX47" fmla="*/ 2114775 w 5545537"/>
              <a:gd name="connsiteY47" fmla="*/ 2637449 h 6876000"/>
              <a:gd name="connsiteX48" fmla="*/ 2113835 w 5545537"/>
              <a:gd name="connsiteY48" fmla="*/ 2628122 h 6876000"/>
              <a:gd name="connsiteX49" fmla="*/ 2635893 w 5545537"/>
              <a:gd name="connsiteY49" fmla="*/ 2106064 h 6876000"/>
              <a:gd name="connsiteX50" fmla="*/ 2649648 w 5545537"/>
              <a:gd name="connsiteY50" fmla="*/ 2107451 h 6876000"/>
              <a:gd name="connsiteX51" fmla="*/ 2649648 w 5545537"/>
              <a:gd name="connsiteY51" fmla="*/ 2090015 h 6876000"/>
              <a:gd name="connsiteX52" fmla="*/ 2635894 w 5545537"/>
              <a:gd name="connsiteY52" fmla="*/ 2091401 h 6876000"/>
              <a:gd name="connsiteX53" fmla="*/ 2113836 w 5545537"/>
              <a:gd name="connsiteY53" fmla="*/ 1569343 h 6876000"/>
              <a:gd name="connsiteX54" fmla="*/ 2635894 w 5545537"/>
              <a:gd name="connsiteY54" fmla="*/ 1047285 h 6876000"/>
              <a:gd name="connsiteX55" fmla="*/ 2649648 w 5545537"/>
              <a:gd name="connsiteY55" fmla="*/ 1048672 h 6876000"/>
              <a:gd name="connsiteX56" fmla="*/ 2649648 w 5545537"/>
              <a:gd name="connsiteY56" fmla="*/ 1043268 h 6876000"/>
              <a:gd name="connsiteX57" fmla="*/ 2689899 w 5545537"/>
              <a:gd name="connsiteY57" fmla="*/ 1039210 h 6876000"/>
              <a:gd name="connsiteX58" fmla="*/ 2689899 w 5545537"/>
              <a:gd name="connsiteY58" fmla="*/ 1038672 h 6876000"/>
              <a:gd name="connsiteX59" fmla="*/ 2635893 w 5545537"/>
              <a:gd name="connsiteY59" fmla="*/ 1044116 h 6876000"/>
              <a:gd name="connsiteX60" fmla="*/ 2113835 w 5545537"/>
              <a:gd name="connsiteY60" fmla="*/ 522058 h 6876000"/>
              <a:gd name="connsiteX61" fmla="*/ 2635893 w 5545537"/>
              <a:gd name="connsiteY61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529659 w 5545537"/>
              <a:gd name="connsiteY23" fmla="*/ 5762418 h 6876000"/>
              <a:gd name="connsiteX24" fmla="*/ 426816 w 5545537"/>
              <a:gd name="connsiteY24" fmla="*/ 5735384 h 6876000"/>
              <a:gd name="connsiteX25" fmla="*/ 9971 w 5545537"/>
              <a:gd name="connsiteY25" fmla="*/ 5223932 h 6876000"/>
              <a:gd name="connsiteX26" fmla="*/ 426816 w 5545537"/>
              <a:gd name="connsiteY26" fmla="*/ 4712481 h 6876000"/>
              <a:gd name="connsiteX27" fmla="*/ 512040 w 5545537"/>
              <a:gd name="connsiteY27" fmla="*/ 4703889 h 6876000"/>
              <a:gd name="connsiteX28" fmla="*/ 512040 w 5545537"/>
              <a:gd name="connsiteY28" fmla="*/ 4703511 h 6876000"/>
              <a:gd name="connsiteX29" fmla="*/ 423086 w 5545537"/>
              <a:gd name="connsiteY29" fmla="*/ 4694544 h 6876000"/>
              <a:gd name="connsiteX30" fmla="*/ 0 w 5545537"/>
              <a:gd name="connsiteY30" fmla="*/ 4175435 h 6876000"/>
              <a:gd name="connsiteX31" fmla="*/ 529874 w 5545537"/>
              <a:gd name="connsiteY31" fmla="*/ 3645561 h 6876000"/>
              <a:gd name="connsiteX32" fmla="*/ 1048983 w 5545537"/>
              <a:gd name="connsiteY32" fmla="*/ 4068647 h 6876000"/>
              <a:gd name="connsiteX33" fmla="*/ 1057146 w 5545537"/>
              <a:gd name="connsiteY33" fmla="*/ 4149617 h 6876000"/>
              <a:gd name="connsiteX34" fmla="*/ 1069719 w 5545537"/>
              <a:gd name="connsiteY34" fmla="*/ 4620012 h 6876000"/>
              <a:gd name="connsiteX35" fmla="*/ 1095113 w 5545537"/>
              <a:gd name="connsiteY35" fmla="*/ 4538207 h 6876000"/>
              <a:gd name="connsiteX36" fmla="*/ 1576145 w 5545537"/>
              <a:gd name="connsiteY36" fmla="*/ 4219357 h 6876000"/>
              <a:gd name="connsiteX37" fmla="*/ 1609779 w 5545537"/>
              <a:gd name="connsiteY37" fmla="*/ 4222748 h 6876000"/>
              <a:gd name="connsiteX38" fmla="*/ 1609779 w 5545537"/>
              <a:gd name="connsiteY38" fmla="*/ 4205666 h 6876000"/>
              <a:gd name="connsiteX39" fmla="*/ 1577115 w 5545537"/>
              <a:gd name="connsiteY39" fmla="*/ 4208959 h 6876000"/>
              <a:gd name="connsiteX40" fmla="*/ 1055057 w 5545537"/>
              <a:gd name="connsiteY40" fmla="*/ 3686901 h 6876000"/>
              <a:gd name="connsiteX41" fmla="*/ 1577115 w 5545537"/>
              <a:gd name="connsiteY41" fmla="*/ 3164843 h 6876000"/>
              <a:gd name="connsiteX42" fmla="*/ 2088567 w 5545537"/>
              <a:gd name="connsiteY42" fmla="*/ 3581688 h 6876000"/>
              <a:gd name="connsiteX43" fmla="*/ 2098635 w 5545537"/>
              <a:gd name="connsiteY43" fmla="*/ 3681565 h 6876000"/>
              <a:gd name="connsiteX44" fmla="*/ 2113837 w 5545537"/>
              <a:gd name="connsiteY44" fmla="*/ 3681565 h 6876000"/>
              <a:gd name="connsiteX45" fmla="*/ 2113837 w 5545537"/>
              <a:gd name="connsiteY45" fmla="*/ 2637449 h 6876000"/>
              <a:gd name="connsiteX46" fmla="*/ 2114775 w 5545537"/>
              <a:gd name="connsiteY46" fmla="*/ 2637449 h 6876000"/>
              <a:gd name="connsiteX47" fmla="*/ 2113835 w 5545537"/>
              <a:gd name="connsiteY47" fmla="*/ 2628122 h 6876000"/>
              <a:gd name="connsiteX48" fmla="*/ 2635893 w 5545537"/>
              <a:gd name="connsiteY48" fmla="*/ 2106064 h 6876000"/>
              <a:gd name="connsiteX49" fmla="*/ 2649648 w 5545537"/>
              <a:gd name="connsiteY49" fmla="*/ 2107451 h 6876000"/>
              <a:gd name="connsiteX50" fmla="*/ 2649648 w 5545537"/>
              <a:gd name="connsiteY50" fmla="*/ 2090015 h 6876000"/>
              <a:gd name="connsiteX51" fmla="*/ 2635894 w 5545537"/>
              <a:gd name="connsiteY51" fmla="*/ 2091401 h 6876000"/>
              <a:gd name="connsiteX52" fmla="*/ 2113836 w 5545537"/>
              <a:gd name="connsiteY52" fmla="*/ 1569343 h 6876000"/>
              <a:gd name="connsiteX53" fmla="*/ 2635894 w 5545537"/>
              <a:gd name="connsiteY53" fmla="*/ 1047285 h 6876000"/>
              <a:gd name="connsiteX54" fmla="*/ 2649648 w 5545537"/>
              <a:gd name="connsiteY54" fmla="*/ 1048672 h 6876000"/>
              <a:gd name="connsiteX55" fmla="*/ 2649648 w 5545537"/>
              <a:gd name="connsiteY55" fmla="*/ 1043268 h 6876000"/>
              <a:gd name="connsiteX56" fmla="*/ 2689899 w 5545537"/>
              <a:gd name="connsiteY56" fmla="*/ 1039210 h 6876000"/>
              <a:gd name="connsiteX57" fmla="*/ 2689899 w 5545537"/>
              <a:gd name="connsiteY57" fmla="*/ 1038672 h 6876000"/>
              <a:gd name="connsiteX58" fmla="*/ 2635893 w 5545537"/>
              <a:gd name="connsiteY58" fmla="*/ 1044116 h 6876000"/>
              <a:gd name="connsiteX59" fmla="*/ 2113835 w 5545537"/>
              <a:gd name="connsiteY59" fmla="*/ 522058 h 6876000"/>
              <a:gd name="connsiteX60" fmla="*/ 2635893 w 5545537"/>
              <a:gd name="connsiteY60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49648 w 5545537"/>
              <a:gd name="connsiteY14" fmla="*/ 6858537 h 6876000"/>
              <a:gd name="connsiteX15" fmla="*/ 2617891 w 5545537"/>
              <a:gd name="connsiteY15" fmla="*/ 6858537 h 6876000"/>
              <a:gd name="connsiteX16" fmla="*/ 1609779 w 5545537"/>
              <a:gd name="connsiteY16" fmla="*/ 6858537 h 6876000"/>
              <a:gd name="connsiteX17" fmla="*/ 1069719 w 5545537"/>
              <a:gd name="connsiteY17" fmla="*/ 6858537 h 6876000"/>
              <a:gd name="connsiteX18" fmla="*/ 1069719 w 5545537"/>
              <a:gd name="connsiteY18" fmla="*/ 6318334 h 6876000"/>
              <a:gd name="connsiteX19" fmla="*/ 1069720 w 5545537"/>
              <a:gd name="connsiteY19" fmla="*/ 6318321 h 6876000"/>
              <a:gd name="connsiteX20" fmla="*/ 1069719 w 5545537"/>
              <a:gd name="connsiteY20" fmla="*/ 6318310 h 6876000"/>
              <a:gd name="connsiteX21" fmla="*/ 1061010 w 5545537"/>
              <a:gd name="connsiteY21" fmla="*/ 6219603 h 6876000"/>
              <a:gd name="connsiteX22" fmla="*/ 624433 w 5545537"/>
              <a:gd name="connsiteY22" fmla="*/ 5771972 h 6876000"/>
              <a:gd name="connsiteX23" fmla="*/ 426816 w 5545537"/>
              <a:gd name="connsiteY23" fmla="*/ 5735384 h 6876000"/>
              <a:gd name="connsiteX24" fmla="*/ 9971 w 5545537"/>
              <a:gd name="connsiteY24" fmla="*/ 5223932 h 6876000"/>
              <a:gd name="connsiteX25" fmla="*/ 426816 w 5545537"/>
              <a:gd name="connsiteY25" fmla="*/ 4712481 h 6876000"/>
              <a:gd name="connsiteX26" fmla="*/ 512040 w 5545537"/>
              <a:gd name="connsiteY26" fmla="*/ 4703889 h 6876000"/>
              <a:gd name="connsiteX27" fmla="*/ 512040 w 5545537"/>
              <a:gd name="connsiteY27" fmla="*/ 4703511 h 6876000"/>
              <a:gd name="connsiteX28" fmla="*/ 423086 w 5545537"/>
              <a:gd name="connsiteY28" fmla="*/ 4694544 h 6876000"/>
              <a:gd name="connsiteX29" fmla="*/ 0 w 5545537"/>
              <a:gd name="connsiteY29" fmla="*/ 4175435 h 6876000"/>
              <a:gd name="connsiteX30" fmla="*/ 529874 w 5545537"/>
              <a:gd name="connsiteY30" fmla="*/ 3645561 h 6876000"/>
              <a:gd name="connsiteX31" fmla="*/ 1048983 w 5545537"/>
              <a:gd name="connsiteY31" fmla="*/ 4068647 h 6876000"/>
              <a:gd name="connsiteX32" fmla="*/ 1057146 w 5545537"/>
              <a:gd name="connsiteY32" fmla="*/ 4149617 h 6876000"/>
              <a:gd name="connsiteX33" fmla="*/ 1069719 w 5545537"/>
              <a:gd name="connsiteY33" fmla="*/ 4620012 h 6876000"/>
              <a:gd name="connsiteX34" fmla="*/ 1095113 w 5545537"/>
              <a:gd name="connsiteY34" fmla="*/ 4538207 h 6876000"/>
              <a:gd name="connsiteX35" fmla="*/ 1576145 w 5545537"/>
              <a:gd name="connsiteY35" fmla="*/ 4219357 h 6876000"/>
              <a:gd name="connsiteX36" fmla="*/ 1609779 w 5545537"/>
              <a:gd name="connsiteY36" fmla="*/ 4222748 h 6876000"/>
              <a:gd name="connsiteX37" fmla="*/ 1609779 w 5545537"/>
              <a:gd name="connsiteY37" fmla="*/ 4205666 h 6876000"/>
              <a:gd name="connsiteX38" fmla="*/ 1577115 w 5545537"/>
              <a:gd name="connsiteY38" fmla="*/ 4208959 h 6876000"/>
              <a:gd name="connsiteX39" fmla="*/ 1055057 w 5545537"/>
              <a:gd name="connsiteY39" fmla="*/ 3686901 h 6876000"/>
              <a:gd name="connsiteX40" fmla="*/ 1577115 w 5545537"/>
              <a:gd name="connsiteY40" fmla="*/ 3164843 h 6876000"/>
              <a:gd name="connsiteX41" fmla="*/ 2088567 w 5545537"/>
              <a:gd name="connsiteY41" fmla="*/ 3581688 h 6876000"/>
              <a:gd name="connsiteX42" fmla="*/ 2098635 w 5545537"/>
              <a:gd name="connsiteY42" fmla="*/ 3681565 h 6876000"/>
              <a:gd name="connsiteX43" fmla="*/ 2113837 w 5545537"/>
              <a:gd name="connsiteY43" fmla="*/ 3681565 h 6876000"/>
              <a:gd name="connsiteX44" fmla="*/ 2113837 w 5545537"/>
              <a:gd name="connsiteY44" fmla="*/ 2637449 h 6876000"/>
              <a:gd name="connsiteX45" fmla="*/ 2114775 w 5545537"/>
              <a:gd name="connsiteY45" fmla="*/ 2637449 h 6876000"/>
              <a:gd name="connsiteX46" fmla="*/ 2113835 w 5545537"/>
              <a:gd name="connsiteY46" fmla="*/ 2628122 h 6876000"/>
              <a:gd name="connsiteX47" fmla="*/ 2635893 w 5545537"/>
              <a:gd name="connsiteY47" fmla="*/ 2106064 h 6876000"/>
              <a:gd name="connsiteX48" fmla="*/ 2649648 w 5545537"/>
              <a:gd name="connsiteY48" fmla="*/ 2107451 h 6876000"/>
              <a:gd name="connsiteX49" fmla="*/ 2649648 w 5545537"/>
              <a:gd name="connsiteY49" fmla="*/ 2090015 h 6876000"/>
              <a:gd name="connsiteX50" fmla="*/ 2635894 w 5545537"/>
              <a:gd name="connsiteY50" fmla="*/ 2091401 h 6876000"/>
              <a:gd name="connsiteX51" fmla="*/ 2113836 w 5545537"/>
              <a:gd name="connsiteY51" fmla="*/ 1569343 h 6876000"/>
              <a:gd name="connsiteX52" fmla="*/ 2635894 w 5545537"/>
              <a:gd name="connsiteY52" fmla="*/ 1047285 h 6876000"/>
              <a:gd name="connsiteX53" fmla="*/ 2649648 w 5545537"/>
              <a:gd name="connsiteY53" fmla="*/ 1048672 h 6876000"/>
              <a:gd name="connsiteX54" fmla="*/ 2649648 w 5545537"/>
              <a:gd name="connsiteY54" fmla="*/ 1043268 h 6876000"/>
              <a:gd name="connsiteX55" fmla="*/ 2689899 w 5545537"/>
              <a:gd name="connsiteY55" fmla="*/ 1039210 h 6876000"/>
              <a:gd name="connsiteX56" fmla="*/ 2689899 w 5545537"/>
              <a:gd name="connsiteY56" fmla="*/ 1038672 h 6876000"/>
              <a:gd name="connsiteX57" fmla="*/ 2635893 w 5545537"/>
              <a:gd name="connsiteY57" fmla="*/ 1044116 h 6876000"/>
              <a:gd name="connsiteX58" fmla="*/ 2113835 w 5545537"/>
              <a:gd name="connsiteY58" fmla="*/ 522058 h 6876000"/>
              <a:gd name="connsiteX59" fmla="*/ 2635893 w 5545537"/>
              <a:gd name="connsiteY59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2617891 w 5545537"/>
              <a:gd name="connsiteY14" fmla="*/ 6858537 h 6876000"/>
              <a:gd name="connsiteX15" fmla="*/ 1609779 w 5545537"/>
              <a:gd name="connsiteY15" fmla="*/ 6858537 h 6876000"/>
              <a:gd name="connsiteX16" fmla="*/ 1069719 w 5545537"/>
              <a:gd name="connsiteY16" fmla="*/ 6858537 h 6876000"/>
              <a:gd name="connsiteX17" fmla="*/ 1069719 w 5545537"/>
              <a:gd name="connsiteY17" fmla="*/ 6318334 h 6876000"/>
              <a:gd name="connsiteX18" fmla="*/ 1069720 w 5545537"/>
              <a:gd name="connsiteY18" fmla="*/ 6318321 h 6876000"/>
              <a:gd name="connsiteX19" fmla="*/ 1069719 w 5545537"/>
              <a:gd name="connsiteY19" fmla="*/ 6318310 h 6876000"/>
              <a:gd name="connsiteX20" fmla="*/ 1061010 w 5545537"/>
              <a:gd name="connsiteY20" fmla="*/ 6219603 h 6876000"/>
              <a:gd name="connsiteX21" fmla="*/ 624433 w 5545537"/>
              <a:gd name="connsiteY21" fmla="*/ 5771972 h 6876000"/>
              <a:gd name="connsiteX22" fmla="*/ 426816 w 5545537"/>
              <a:gd name="connsiteY22" fmla="*/ 5735384 h 6876000"/>
              <a:gd name="connsiteX23" fmla="*/ 9971 w 5545537"/>
              <a:gd name="connsiteY23" fmla="*/ 5223932 h 6876000"/>
              <a:gd name="connsiteX24" fmla="*/ 426816 w 5545537"/>
              <a:gd name="connsiteY24" fmla="*/ 4712481 h 6876000"/>
              <a:gd name="connsiteX25" fmla="*/ 512040 w 5545537"/>
              <a:gd name="connsiteY25" fmla="*/ 4703889 h 6876000"/>
              <a:gd name="connsiteX26" fmla="*/ 512040 w 5545537"/>
              <a:gd name="connsiteY26" fmla="*/ 4703511 h 6876000"/>
              <a:gd name="connsiteX27" fmla="*/ 423086 w 5545537"/>
              <a:gd name="connsiteY27" fmla="*/ 4694544 h 6876000"/>
              <a:gd name="connsiteX28" fmla="*/ 0 w 5545537"/>
              <a:gd name="connsiteY28" fmla="*/ 4175435 h 6876000"/>
              <a:gd name="connsiteX29" fmla="*/ 529874 w 5545537"/>
              <a:gd name="connsiteY29" fmla="*/ 3645561 h 6876000"/>
              <a:gd name="connsiteX30" fmla="*/ 1048983 w 5545537"/>
              <a:gd name="connsiteY30" fmla="*/ 4068647 h 6876000"/>
              <a:gd name="connsiteX31" fmla="*/ 1057146 w 5545537"/>
              <a:gd name="connsiteY31" fmla="*/ 4149617 h 6876000"/>
              <a:gd name="connsiteX32" fmla="*/ 1069719 w 5545537"/>
              <a:gd name="connsiteY32" fmla="*/ 4620012 h 6876000"/>
              <a:gd name="connsiteX33" fmla="*/ 1095113 w 5545537"/>
              <a:gd name="connsiteY33" fmla="*/ 4538207 h 6876000"/>
              <a:gd name="connsiteX34" fmla="*/ 1576145 w 5545537"/>
              <a:gd name="connsiteY34" fmla="*/ 4219357 h 6876000"/>
              <a:gd name="connsiteX35" fmla="*/ 1609779 w 5545537"/>
              <a:gd name="connsiteY35" fmla="*/ 4222748 h 6876000"/>
              <a:gd name="connsiteX36" fmla="*/ 1609779 w 5545537"/>
              <a:gd name="connsiteY36" fmla="*/ 4205666 h 6876000"/>
              <a:gd name="connsiteX37" fmla="*/ 1577115 w 5545537"/>
              <a:gd name="connsiteY37" fmla="*/ 4208959 h 6876000"/>
              <a:gd name="connsiteX38" fmla="*/ 1055057 w 5545537"/>
              <a:gd name="connsiteY38" fmla="*/ 3686901 h 6876000"/>
              <a:gd name="connsiteX39" fmla="*/ 1577115 w 5545537"/>
              <a:gd name="connsiteY39" fmla="*/ 3164843 h 6876000"/>
              <a:gd name="connsiteX40" fmla="*/ 2088567 w 5545537"/>
              <a:gd name="connsiteY40" fmla="*/ 3581688 h 6876000"/>
              <a:gd name="connsiteX41" fmla="*/ 2098635 w 5545537"/>
              <a:gd name="connsiteY41" fmla="*/ 3681565 h 6876000"/>
              <a:gd name="connsiteX42" fmla="*/ 2113837 w 5545537"/>
              <a:gd name="connsiteY42" fmla="*/ 3681565 h 6876000"/>
              <a:gd name="connsiteX43" fmla="*/ 2113837 w 5545537"/>
              <a:gd name="connsiteY43" fmla="*/ 2637449 h 6876000"/>
              <a:gd name="connsiteX44" fmla="*/ 2114775 w 5545537"/>
              <a:gd name="connsiteY44" fmla="*/ 2637449 h 6876000"/>
              <a:gd name="connsiteX45" fmla="*/ 2113835 w 5545537"/>
              <a:gd name="connsiteY45" fmla="*/ 2628122 h 6876000"/>
              <a:gd name="connsiteX46" fmla="*/ 2635893 w 5545537"/>
              <a:gd name="connsiteY46" fmla="*/ 2106064 h 6876000"/>
              <a:gd name="connsiteX47" fmla="*/ 2649648 w 5545537"/>
              <a:gd name="connsiteY47" fmla="*/ 2107451 h 6876000"/>
              <a:gd name="connsiteX48" fmla="*/ 2649648 w 5545537"/>
              <a:gd name="connsiteY48" fmla="*/ 2090015 h 6876000"/>
              <a:gd name="connsiteX49" fmla="*/ 2635894 w 5545537"/>
              <a:gd name="connsiteY49" fmla="*/ 2091401 h 6876000"/>
              <a:gd name="connsiteX50" fmla="*/ 2113836 w 5545537"/>
              <a:gd name="connsiteY50" fmla="*/ 1569343 h 6876000"/>
              <a:gd name="connsiteX51" fmla="*/ 2635894 w 5545537"/>
              <a:gd name="connsiteY51" fmla="*/ 1047285 h 6876000"/>
              <a:gd name="connsiteX52" fmla="*/ 2649648 w 5545537"/>
              <a:gd name="connsiteY52" fmla="*/ 1048672 h 6876000"/>
              <a:gd name="connsiteX53" fmla="*/ 2649648 w 5545537"/>
              <a:gd name="connsiteY53" fmla="*/ 1043268 h 6876000"/>
              <a:gd name="connsiteX54" fmla="*/ 2689899 w 5545537"/>
              <a:gd name="connsiteY54" fmla="*/ 1039210 h 6876000"/>
              <a:gd name="connsiteX55" fmla="*/ 2689899 w 5545537"/>
              <a:gd name="connsiteY55" fmla="*/ 1038672 h 6876000"/>
              <a:gd name="connsiteX56" fmla="*/ 2635893 w 5545537"/>
              <a:gd name="connsiteY56" fmla="*/ 1044116 h 6876000"/>
              <a:gd name="connsiteX57" fmla="*/ 2113835 w 5545537"/>
              <a:gd name="connsiteY57" fmla="*/ 522058 h 6876000"/>
              <a:gd name="connsiteX58" fmla="*/ 2635893 w 5545537"/>
              <a:gd name="connsiteY58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609779 w 5545537"/>
              <a:gd name="connsiteY14" fmla="*/ 6858537 h 6876000"/>
              <a:gd name="connsiteX15" fmla="*/ 1069719 w 5545537"/>
              <a:gd name="connsiteY15" fmla="*/ 6858537 h 6876000"/>
              <a:gd name="connsiteX16" fmla="*/ 1069719 w 5545537"/>
              <a:gd name="connsiteY16" fmla="*/ 6318334 h 6876000"/>
              <a:gd name="connsiteX17" fmla="*/ 1069720 w 5545537"/>
              <a:gd name="connsiteY17" fmla="*/ 6318321 h 6876000"/>
              <a:gd name="connsiteX18" fmla="*/ 1069719 w 5545537"/>
              <a:gd name="connsiteY18" fmla="*/ 6318310 h 6876000"/>
              <a:gd name="connsiteX19" fmla="*/ 1061010 w 5545537"/>
              <a:gd name="connsiteY19" fmla="*/ 6219603 h 6876000"/>
              <a:gd name="connsiteX20" fmla="*/ 624433 w 5545537"/>
              <a:gd name="connsiteY20" fmla="*/ 5771972 h 6876000"/>
              <a:gd name="connsiteX21" fmla="*/ 426816 w 5545537"/>
              <a:gd name="connsiteY21" fmla="*/ 5735384 h 6876000"/>
              <a:gd name="connsiteX22" fmla="*/ 9971 w 5545537"/>
              <a:gd name="connsiteY22" fmla="*/ 5223932 h 6876000"/>
              <a:gd name="connsiteX23" fmla="*/ 426816 w 5545537"/>
              <a:gd name="connsiteY23" fmla="*/ 4712481 h 6876000"/>
              <a:gd name="connsiteX24" fmla="*/ 512040 w 5545537"/>
              <a:gd name="connsiteY24" fmla="*/ 4703889 h 6876000"/>
              <a:gd name="connsiteX25" fmla="*/ 512040 w 5545537"/>
              <a:gd name="connsiteY25" fmla="*/ 4703511 h 6876000"/>
              <a:gd name="connsiteX26" fmla="*/ 423086 w 5545537"/>
              <a:gd name="connsiteY26" fmla="*/ 4694544 h 6876000"/>
              <a:gd name="connsiteX27" fmla="*/ 0 w 5545537"/>
              <a:gd name="connsiteY27" fmla="*/ 4175435 h 6876000"/>
              <a:gd name="connsiteX28" fmla="*/ 529874 w 5545537"/>
              <a:gd name="connsiteY28" fmla="*/ 3645561 h 6876000"/>
              <a:gd name="connsiteX29" fmla="*/ 1048983 w 5545537"/>
              <a:gd name="connsiteY29" fmla="*/ 4068647 h 6876000"/>
              <a:gd name="connsiteX30" fmla="*/ 1057146 w 5545537"/>
              <a:gd name="connsiteY30" fmla="*/ 4149617 h 6876000"/>
              <a:gd name="connsiteX31" fmla="*/ 1069719 w 5545537"/>
              <a:gd name="connsiteY31" fmla="*/ 4620012 h 6876000"/>
              <a:gd name="connsiteX32" fmla="*/ 1095113 w 5545537"/>
              <a:gd name="connsiteY32" fmla="*/ 4538207 h 6876000"/>
              <a:gd name="connsiteX33" fmla="*/ 1576145 w 5545537"/>
              <a:gd name="connsiteY33" fmla="*/ 4219357 h 6876000"/>
              <a:gd name="connsiteX34" fmla="*/ 1609779 w 5545537"/>
              <a:gd name="connsiteY34" fmla="*/ 4222748 h 6876000"/>
              <a:gd name="connsiteX35" fmla="*/ 1609779 w 5545537"/>
              <a:gd name="connsiteY35" fmla="*/ 4205666 h 6876000"/>
              <a:gd name="connsiteX36" fmla="*/ 1577115 w 5545537"/>
              <a:gd name="connsiteY36" fmla="*/ 4208959 h 6876000"/>
              <a:gd name="connsiteX37" fmla="*/ 1055057 w 5545537"/>
              <a:gd name="connsiteY37" fmla="*/ 3686901 h 6876000"/>
              <a:gd name="connsiteX38" fmla="*/ 1577115 w 5545537"/>
              <a:gd name="connsiteY38" fmla="*/ 3164843 h 6876000"/>
              <a:gd name="connsiteX39" fmla="*/ 2088567 w 5545537"/>
              <a:gd name="connsiteY39" fmla="*/ 3581688 h 6876000"/>
              <a:gd name="connsiteX40" fmla="*/ 2098635 w 5545537"/>
              <a:gd name="connsiteY40" fmla="*/ 3681565 h 6876000"/>
              <a:gd name="connsiteX41" fmla="*/ 2113837 w 5545537"/>
              <a:gd name="connsiteY41" fmla="*/ 3681565 h 6876000"/>
              <a:gd name="connsiteX42" fmla="*/ 2113837 w 5545537"/>
              <a:gd name="connsiteY42" fmla="*/ 2637449 h 6876000"/>
              <a:gd name="connsiteX43" fmla="*/ 2114775 w 5545537"/>
              <a:gd name="connsiteY43" fmla="*/ 2637449 h 6876000"/>
              <a:gd name="connsiteX44" fmla="*/ 2113835 w 5545537"/>
              <a:gd name="connsiteY44" fmla="*/ 2628122 h 6876000"/>
              <a:gd name="connsiteX45" fmla="*/ 2635893 w 5545537"/>
              <a:gd name="connsiteY45" fmla="*/ 2106064 h 6876000"/>
              <a:gd name="connsiteX46" fmla="*/ 2649648 w 5545537"/>
              <a:gd name="connsiteY46" fmla="*/ 2107451 h 6876000"/>
              <a:gd name="connsiteX47" fmla="*/ 2649648 w 5545537"/>
              <a:gd name="connsiteY47" fmla="*/ 2090015 h 6876000"/>
              <a:gd name="connsiteX48" fmla="*/ 2635894 w 5545537"/>
              <a:gd name="connsiteY48" fmla="*/ 2091401 h 6876000"/>
              <a:gd name="connsiteX49" fmla="*/ 2113836 w 5545537"/>
              <a:gd name="connsiteY49" fmla="*/ 1569343 h 6876000"/>
              <a:gd name="connsiteX50" fmla="*/ 2635894 w 5545537"/>
              <a:gd name="connsiteY50" fmla="*/ 1047285 h 6876000"/>
              <a:gd name="connsiteX51" fmla="*/ 2649648 w 5545537"/>
              <a:gd name="connsiteY51" fmla="*/ 1048672 h 6876000"/>
              <a:gd name="connsiteX52" fmla="*/ 2649648 w 5545537"/>
              <a:gd name="connsiteY52" fmla="*/ 1043268 h 6876000"/>
              <a:gd name="connsiteX53" fmla="*/ 2689899 w 5545537"/>
              <a:gd name="connsiteY53" fmla="*/ 1039210 h 6876000"/>
              <a:gd name="connsiteX54" fmla="*/ 2689899 w 5545537"/>
              <a:gd name="connsiteY54" fmla="*/ 1038672 h 6876000"/>
              <a:gd name="connsiteX55" fmla="*/ 2635893 w 5545537"/>
              <a:gd name="connsiteY55" fmla="*/ 1044116 h 6876000"/>
              <a:gd name="connsiteX56" fmla="*/ 2113835 w 5545537"/>
              <a:gd name="connsiteY56" fmla="*/ 522058 h 6876000"/>
              <a:gd name="connsiteX57" fmla="*/ 2635893 w 5545537"/>
              <a:gd name="connsiteY57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9719 w 5545537"/>
              <a:gd name="connsiteY14" fmla="*/ 6858537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922831"/>
              <a:gd name="connsiteX1" fmla="*/ 2099173 w 5545537"/>
              <a:gd name="connsiteY1" fmla="*/ 2628122 h 6922831"/>
              <a:gd name="connsiteX2" fmla="*/ 1577115 w 5545537"/>
              <a:gd name="connsiteY2" fmla="*/ 3150180 h 6922831"/>
              <a:gd name="connsiteX3" fmla="*/ 1055057 w 5545537"/>
              <a:gd name="connsiteY3" fmla="*/ 2628122 h 6922831"/>
              <a:gd name="connsiteX4" fmla="*/ 1577115 w 5545537"/>
              <a:gd name="connsiteY4" fmla="*/ 2106064 h 6922831"/>
              <a:gd name="connsiteX5" fmla="*/ 2635893 w 5545537"/>
              <a:gd name="connsiteY5" fmla="*/ 0 h 6922831"/>
              <a:gd name="connsiteX6" fmla="*/ 2649648 w 5545537"/>
              <a:gd name="connsiteY6" fmla="*/ 1387 h 6922831"/>
              <a:gd name="connsiteX7" fmla="*/ 2649648 w 5545537"/>
              <a:gd name="connsiteY7" fmla="*/ 537 h 6922831"/>
              <a:gd name="connsiteX8" fmla="*/ 2689899 w 5545537"/>
              <a:gd name="connsiteY8" fmla="*/ 537 h 6922831"/>
              <a:gd name="connsiteX9" fmla="*/ 2689899 w 5545537"/>
              <a:gd name="connsiteY9" fmla="*/ 0 h 6922831"/>
              <a:gd name="connsiteX10" fmla="*/ 3846766 w 5545537"/>
              <a:gd name="connsiteY10" fmla="*/ 0 h 6922831"/>
              <a:gd name="connsiteX11" fmla="*/ 3846766 w 5545537"/>
              <a:gd name="connsiteY11" fmla="*/ 537 h 6922831"/>
              <a:gd name="connsiteX12" fmla="*/ 5545537 w 5545537"/>
              <a:gd name="connsiteY12" fmla="*/ 537 h 6922831"/>
              <a:gd name="connsiteX13" fmla="*/ 5545537 w 5545537"/>
              <a:gd name="connsiteY13" fmla="*/ 6876000 h 6922831"/>
              <a:gd name="connsiteX14" fmla="*/ 1067337 w 5545537"/>
              <a:gd name="connsiteY14" fmla="*/ 6922831 h 6922831"/>
              <a:gd name="connsiteX15" fmla="*/ 1069719 w 5545537"/>
              <a:gd name="connsiteY15" fmla="*/ 6318334 h 6922831"/>
              <a:gd name="connsiteX16" fmla="*/ 1069720 w 5545537"/>
              <a:gd name="connsiteY16" fmla="*/ 6318321 h 6922831"/>
              <a:gd name="connsiteX17" fmla="*/ 1069719 w 5545537"/>
              <a:gd name="connsiteY17" fmla="*/ 6318310 h 6922831"/>
              <a:gd name="connsiteX18" fmla="*/ 1061010 w 5545537"/>
              <a:gd name="connsiteY18" fmla="*/ 6219603 h 6922831"/>
              <a:gd name="connsiteX19" fmla="*/ 624433 w 5545537"/>
              <a:gd name="connsiteY19" fmla="*/ 5771972 h 6922831"/>
              <a:gd name="connsiteX20" fmla="*/ 426816 w 5545537"/>
              <a:gd name="connsiteY20" fmla="*/ 5735384 h 6922831"/>
              <a:gd name="connsiteX21" fmla="*/ 9971 w 5545537"/>
              <a:gd name="connsiteY21" fmla="*/ 5223932 h 6922831"/>
              <a:gd name="connsiteX22" fmla="*/ 426816 w 5545537"/>
              <a:gd name="connsiteY22" fmla="*/ 4712481 h 6922831"/>
              <a:gd name="connsiteX23" fmla="*/ 512040 w 5545537"/>
              <a:gd name="connsiteY23" fmla="*/ 4703889 h 6922831"/>
              <a:gd name="connsiteX24" fmla="*/ 512040 w 5545537"/>
              <a:gd name="connsiteY24" fmla="*/ 4703511 h 6922831"/>
              <a:gd name="connsiteX25" fmla="*/ 423086 w 5545537"/>
              <a:gd name="connsiteY25" fmla="*/ 4694544 h 6922831"/>
              <a:gd name="connsiteX26" fmla="*/ 0 w 5545537"/>
              <a:gd name="connsiteY26" fmla="*/ 4175435 h 6922831"/>
              <a:gd name="connsiteX27" fmla="*/ 529874 w 5545537"/>
              <a:gd name="connsiteY27" fmla="*/ 3645561 h 6922831"/>
              <a:gd name="connsiteX28" fmla="*/ 1048983 w 5545537"/>
              <a:gd name="connsiteY28" fmla="*/ 4068647 h 6922831"/>
              <a:gd name="connsiteX29" fmla="*/ 1057146 w 5545537"/>
              <a:gd name="connsiteY29" fmla="*/ 4149617 h 6922831"/>
              <a:gd name="connsiteX30" fmla="*/ 1069719 w 5545537"/>
              <a:gd name="connsiteY30" fmla="*/ 4620012 h 6922831"/>
              <a:gd name="connsiteX31" fmla="*/ 1095113 w 5545537"/>
              <a:gd name="connsiteY31" fmla="*/ 4538207 h 6922831"/>
              <a:gd name="connsiteX32" fmla="*/ 1576145 w 5545537"/>
              <a:gd name="connsiteY32" fmla="*/ 4219357 h 6922831"/>
              <a:gd name="connsiteX33" fmla="*/ 1609779 w 5545537"/>
              <a:gd name="connsiteY33" fmla="*/ 4222748 h 6922831"/>
              <a:gd name="connsiteX34" fmla="*/ 1609779 w 5545537"/>
              <a:gd name="connsiteY34" fmla="*/ 4205666 h 6922831"/>
              <a:gd name="connsiteX35" fmla="*/ 1577115 w 5545537"/>
              <a:gd name="connsiteY35" fmla="*/ 4208959 h 6922831"/>
              <a:gd name="connsiteX36" fmla="*/ 1055057 w 5545537"/>
              <a:gd name="connsiteY36" fmla="*/ 3686901 h 6922831"/>
              <a:gd name="connsiteX37" fmla="*/ 1577115 w 5545537"/>
              <a:gd name="connsiteY37" fmla="*/ 3164843 h 6922831"/>
              <a:gd name="connsiteX38" fmla="*/ 2088567 w 5545537"/>
              <a:gd name="connsiteY38" fmla="*/ 3581688 h 6922831"/>
              <a:gd name="connsiteX39" fmla="*/ 2098635 w 5545537"/>
              <a:gd name="connsiteY39" fmla="*/ 3681565 h 6922831"/>
              <a:gd name="connsiteX40" fmla="*/ 2113837 w 5545537"/>
              <a:gd name="connsiteY40" fmla="*/ 3681565 h 6922831"/>
              <a:gd name="connsiteX41" fmla="*/ 2113837 w 5545537"/>
              <a:gd name="connsiteY41" fmla="*/ 2637449 h 6922831"/>
              <a:gd name="connsiteX42" fmla="*/ 2114775 w 5545537"/>
              <a:gd name="connsiteY42" fmla="*/ 2637449 h 6922831"/>
              <a:gd name="connsiteX43" fmla="*/ 2113835 w 5545537"/>
              <a:gd name="connsiteY43" fmla="*/ 2628122 h 6922831"/>
              <a:gd name="connsiteX44" fmla="*/ 2635893 w 5545537"/>
              <a:gd name="connsiteY44" fmla="*/ 2106064 h 6922831"/>
              <a:gd name="connsiteX45" fmla="*/ 2649648 w 5545537"/>
              <a:gd name="connsiteY45" fmla="*/ 2107451 h 6922831"/>
              <a:gd name="connsiteX46" fmla="*/ 2649648 w 5545537"/>
              <a:gd name="connsiteY46" fmla="*/ 2090015 h 6922831"/>
              <a:gd name="connsiteX47" fmla="*/ 2635894 w 5545537"/>
              <a:gd name="connsiteY47" fmla="*/ 2091401 h 6922831"/>
              <a:gd name="connsiteX48" fmla="*/ 2113836 w 5545537"/>
              <a:gd name="connsiteY48" fmla="*/ 1569343 h 6922831"/>
              <a:gd name="connsiteX49" fmla="*/ 2635894 w 5545537"/>
              <a:gd name="connsiteY49" fmla="*/ 1047285 h 6922831"/>
              <a:gd name="connsiteX50" fmla="*/ 2649648 w 5545537"/>
              <a:gd name="connsiteY50" fmla="*/ 1048672 h 6922831"/>
              <a:gd name="connsiteX51" fmla="*/ 2649648 w 5545537"/>
              <a:gd name="connsiteY51" fmla="*/ 1043268 h 6922831"/>
              <a:gd name="connsiteX52" fmla="*/ 2689899 w 5545537"/>
              <a:gd name="connsiteY52" fmla="*/ 1039210 h 6922831"/>
              <a:gd name="connsiteX53" fmla="*/ 2689899 w 5545537"/>
              <a:gd name="connsiteY53" fmla="*/ 1038672 h 6922831"/>
              <a:gd name="connsiteX54" fmla="*/ 2635893 w 5545537"/>
              <a:gd name="connsiteY54" fmla="*/ 1044116 h 6922831"/>
              <a:gd name="connsiteX55" fmla="*/ 2113835 w 5545537"/>
              <a:gd name="connsiteY55" fmla="*/ 522058 h 6922831"/>
              <a:gd name="connsiteX56" fmla="*/ 2635893 w 5545537"/>
              <a:gd name="connsiteY56" fmla="*/ 0 h 6922831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00"/>
              <a:gd name="connsiteX1" fmla="*/ 2099173 w 5545537"/>
              <a:gd name="connsiteY1" fmla="*/ 2628122 h 6876000"/>
              <a:gd name="connsiteX2" fmla="*/ 1577115 w 5545537"/>
              <a:gd name="connsiteY2" fmla="*/ 3150180 h 6876000"/>
              <a:gd name="connsiteX3" fmla="*/ 1055057 w 5545537"/>
              <a:gd name="connsiteY3" fmla="*/ 2628122 h 6876000"/>
              <a:gd name="connsiteX4" fmla="*/ 1577115 w 5545537"/>
              <a:gd name="connsiteY4" fmla="*/ 2106064 h 6876000"/>
              <a:gd name="connsiteX5" fmla="*/ 2635893 w 5545537"/>
              <a:gd name="connsiteY5" fmla="*/ 0 h 6876000"/>
              <a:gd name="connsiteX6" fmla="*/ 2649648 w 5545537"/>
              <a:gd name="connsiteY6" fmla="*/ 1387 h 6876000"/>
              <a:gd name="connsiteX7" fmla="*/ 2649648 w 5545537"/>
              <a:gd name="connsiteY7" fmla="*/ 537 h 6876000"/>
              <a:gd name="connsiteX8" fmla="*/ 2689899 w 5545537"/>
              <a:gd name="connsiteY8" fmla="*/ 537 h 6876000"/>
              <a:gd name="connsiteX9" fmla="*/ 2689899 w 5545537"/>
              <a:gd name="connsiteY9" fmla="*/ 0 h 6876000"/>
              <a:gd name="connsiteX10" fmla="*/ 3846766 w 5545537"/>
              <a:gd name="connsiteY10" fmla="*/ 0 h 6876000"/>
              <a:gd name="connsiteX11" fmla="*/ 3846766 w 5545537"/>
              <a:gd name="connsiteY11" fmla="*/ 537 h 6876000"/>
              <a:gd name="connsiteX12" fmla="*/ 5545537 w 5545537"/>
              <a:gd name="connsiteY12" fmla="*/ 537 h 6876000"/>
              <a:gd name="connsiteX13" fmla="*/ 5545537 w 5545537"/>
              <a:gd name="connsiteY13" fmla="*/ 6876000 h 6876000"/>
              <a:gd name="connsiteX14" fmla="*/ 1067337 w 5545537"/>
              <a:gd name="connsiteY14" fmla="*/ 6863300 h 6876000"/>
              <a:gd name="connsiteX15" fmla="*/ 1069719 w 5545537"/>
              <a:gd name="connsiteY15" fmla="*/ 6318334 h 6876000"/>
              <a:gd name="connsiteX16" fmla="*/ 1069720 w 5545537"/>
              <a:gd name="connsiteY16" fmla="*/ 6318321 h 6876000"/>
              <a:gd name="connsiteX17" fmla="*/ 1069719 w 5545537"/>
              <a:gd name="connsiteY17" fmla="*/ 6318310 h 6876000"/>
              <a:gd name="connsiteX18" fmla="*/ 1061010 w 5545537"/>
              <a:gd name="connsiteY18" fmla="*/ 6219603 h 6876000"/>
              <a:gd name="connsiteX19" fmla="*/ 624433 w 5545537"/>
              <a:gd name="connsiteY19" fmla="*/ 5771972 h 6876000"/>
              <a:gd name="connsiteX20" fmla="*/ 426816 w 5545537"/>
              <a:gd name="connsiteY20" fmla="*/ 5735384 h 6876000"/>
              <a:gd name="connsiteX21" fmla="*/ 9971 w 5545537"/>
              <a:gd name="connsiteY21" fmla="*/ 5223932 h 6876000"/>
              <a:gd name="connsiteX22" fmla="*/ 426816 w 5545537"/>
              <a:gd name="connsiteY22" fmla="*/ 4712481 h 6876000"/>
              <a:gd name="connsiteX23" fmla="*/ 512040 w 5545537"/>
              <a:gd name="connsiteY23" fmla="*/ 4703889 h 6876000"/>
              <a:gd name="connsiteX24" fmla="*/ 512040 w 5545537"/>
              <a:gd name="connsiteY24" fmla="*/ 4703511 h 6876000"/>
              <a:gd name="connsiteX25" fmla="*/ 423086 w 5545537"/>
              <a:gd name="connsiteY25" fmla="*/ 4694544 h 6876000"/>
              <a:gd name="connsiteX26" fmla="*/ 0 w 5545537"/>
              <a:gd name="connsiteY26" fmla="*/ 4175435 h 6876000"/>
              <a:gd name="connsiteX27" fmla="*/ 529874 w 5545537"/>
              <a:gd name="connsiteY27" fmla="*/ 3645561 h 6876000"/>
              <a:gd name="connsiteX28" fmla="*/ 1048983 w 5545537"/>
              <a:gd name="connsiteY28" fmla="*/ 4068647 h 6876000"/>
              <a:gd name="connsiteX29" fmla="*/ 1057146 w 5545537"/>
              <a:gd name="connsiteY29" fmla="*/ 4149617 h 6876000"/>
              <a:gd name="connsiteX30" fmla="*/ 1069719 w 5545537"/>
              <a:gd name="connsiteY30" fmla="*/ 4620012 h 6876000"/>
              <a:gd name="connsiteX31" fmla="*/ 1095113 w 5545537"/>
              <a:gd name="connsiteY31" fmla="*/ 4538207 h 6876000"/>
              <a:gd name="connsiteX32" fmla="*/ 1576145 w 5545537"/>
              <a:gd name="connsiteY32" fmla="*/ 4219357 h 6876000"/>
              <a:gd name="connsiteX33" fmla="*/ 1609779 w 5545537"/>
              <a:gd name="connsiteY33" fmla="*/ 4222748 h 6876000"/>
              <a:gd name="connsiteX34" fmla="*/ 1609779 w 5545537"/>
              <a:gd name="connsiteY34" fmla="*/ 4205666 h 6876000"/>
              <a:gd name="connsiteX35" fmla="*/ 1577115 w 5545537"/>
              <a:gd name="connsiteY35" fmla="*/ 4208959 h 6876000"/>
              <a:gd name="connsiteX36" fmla="*/ 1055057 w 5545537"/>
              <a:gd name="connsiteY36" fmla="*/ 3686901 h 6876000"/>
              <a:gd name="connsiteX37" fmla="*/ 1577115 w 5545537"/>
              <a:gd name="connsiteY37" fmla="*/ 3164843 h 6876000"/>
              <a:gd name="connsiteX38" fmla="*/ 2088567 w 5545537"/>
              <a:gd name="connsiteY38" fmla="*/ 3581688 h 6876000"/>
              <a:gd name="connsiteX39" fmla="*/ 2098635 w 5545537"/>
              <a:gd name="connsiteY39" fmla="*/ 3681565 h 6876000"/>
              <a:gd name="connsiteX40" fmla="*/ 2113837 w 5545537"/>
              <a:gd name="connsiteY40" fmla="*/ 3681565 h 6876000"/>
              <a:gd name="connsiteX41" fmla="*/ 2113837 w 5545537"/>
              <a:gd name="connsiteY41" fmla="*/ 2637449 h 6876000"/>
              <a:gd name="connsiteX42" fmla="*/ 2114775 w 5545537"/>
              <a:gd name="connsiteY42" fmla="*/ 2637449 h 6876000"/>
              <a:gd name="connsiteX43" fmla="*/ 2113835 w 5545537"/>
              <a:gd name="connsiteY43" fmla="*/ 2628122 h 6876000"/>
              <a:gd name="connsiteX44" fmla="*/ 2635893 w 5545537"/>
              <a:gd name="connsiteY44" fmla="*/ 2106064 h 6876000"/>
              <a:gd name="connsiteX45" fmla="*/ 2649648 w 5545537"/>
              <a:gd name="connsiteY45" fmla="*/ 2107451 h 6876000"/>
              <a:gd name="connsiteX46" fmla="*/ 2649648 w 5545537"/>
              <a:gd name="connsiteY46" fmla="*/ 2090015 h 6876000"/>
              <a:gd name="connsiteX47" fmla="*/ 2635894 w 5545537"/>
              <a:gd name="connsiteY47" fmla="*/ 2091401 h 6876000"/>
              <a:gd name="connsiteX48" fmla="*/ 2113836 w 5545537"/>
              <a:gd name="connsiteY48" fmla="*/ 1569343 h 6876000"/>
              <a:gd name="connsiteX49" fmla="*/ 2635894 w 5545537"/>
              <a:gd name="connsiteY49" fmla="*/ 1047285 h 6876000"/>
              <a:gd name="connsiteX50" fmla="*/ 2649648 w 5545537"/>
              <a:gd name="connsiteY50" fmla="*/ 1048672 h 6876000"/>
              <a:gd name="connsiteX51" fmla="*/ 2649648 w 5545537"/>
              <a:gd name="connsiteY51" fmla="*/ 1043268 h 6876000"/>
              <a:gd name="connsiteX52" fmla="*/ 2689899 w 5545537"/>
              <a:gd name="connsiteY52" fmla="*/ 1039210 h 6876000"/>
              <a:gd name="connsiteX53" fmla="*/ 2689899 w 5545537"/>
              <a:gd name="connsiteY53" fmla="*/ 1038672 h 6876000"/>
              <a:gd name="connsiteX54" fmla="*/ 2635893 w 5545537"/>
              <a:gd name="connsiteY54" fmla="*/ 1044116 h 6876000"/>
              <a:gd name="connsiteX55" fmla="*/ 2113835 w 5545537"/>
              <a:gd name="connsiteY55" fmla="*/ 522058 h 6876000"/>
              <a:gd name="connsiteX56" fmla="*/ 2635893 w 5545537"/>
              <a:gd name="connsiteY56" fmla="*/ 0 h 6876000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03"/>
              <a:gd name="connsiteX1" fmla="*/ 2099173 w 5545537"/>
              <a:gd name="connsiteY1" fmla="*/ 2628122 h 6876003"/>
              <a:gd name="connsiteX2" fmla="*/ 1577115 w 5545537"/>
              <a:gd name="connsiteY2" fmla="*/ 3150180 h 6876003"/>
              <a:gd name="connsiteX3" fmla="*/ 1055057 w 5545537"/>
              <a:gd name="connsiteY3" fmla="*/ 2628122 h 6876003"/>
              <a:gd name="connsiteX4" fmla="*/ 1577115 w 5545537"/>
              <a:gd name="connsiteY4" fmla="*/ 2106064 h 6876003"/>
              <a:gd name="connsiteX5" fmla="*/ 2635893 w 5545537"/>
              <a:gd name="connsiteY5" fmla="*/ 0 h 6876003"/>
              <a:gd name="connsiteX6" fmla="*/ 2649648 w 5545537"/>
              <a:gd name="connsiteY6" fmla="*/ 1387 h 6876003"/>
              <a:gd name="connsiteX7" fmla="*/ 2649648 w 5545537"/>
              <a:gd name="connsiteY7" fmla="*/ 537 h 6876003"/>
              <a:gd name="connsiteX8" fmla="*/ 2689899 w 5545537"/>
              <a:gd name="connsiteY8" fmla="*/ 537 h 6876003"/>
              <a:gd name="connsiteX9" fmla="*/ 2689899 w 5545537"/>
              <a:gd name="connsiteY9" fmla="*/ 0 h 6876003"/>
              <a:gd name="connsiteX10" fmla="*/ 3846766 w 5545537"/>
              <a:gd name="connsiteY10" fmla="*/ 0 h 6876003"/>
              <a:gd name="connsiteX11" fmla="*/ 3846766 w 5545537"/>
              <a:gd name="connsiteY11" fmla="*/ 537 h 6876003"/>
              <a:gd name="connsiteX12" fmla="*/ 5545537 w 5545537"/>
              <a:gd name="connsiteY12" fmla="*/ 537 h 6876003"/>
              <a:gd name="connsiteX13" fmla="*/ 5545537 w 5545537"/>
              <a:gd name="connsiteY13" fmla="*/ 6876000 h 6876003"/>
              <a:gd name="connsiteX14" fmla="*/ 1064761 w 5545537"/>
              <a:gd name="connsiteY14" fmla="*/ 6804058 h 6876003"/>
              <a:gd name="connsiteX15" fmla="*/ 1069719 w 5545537"/>
              <a:gd name="connsiteY15" fmla="*/ 6318334 h 6876003"/>
              <a:gd name="connsiteX16" fmla="*/ 1069720 w 5545537"/>
              <a:gd name="connsiteY16" fmla="*/ 6318321 h 6876003"/>
              <a:gd name="connsiteX17" fmla="*/ 1069719 w 5545537"/>
              <a:gd name="connsiteY17" fmla="*/ 6318310 h 6876003"/>
              <a:gd name="connsiteX18" fmla="*/ 1061010 w 5545537"/>
              <a:gd name="connsiteY18" fmla="*/ 6219603 h 6876003"/>
              <a:gd name="connsiteX19" fmla="*/ 624433 w 5545537"/>
              <a:gd name="connsiteY19" fmla="*/ 5771972 h 6876003"/>
              <a:gd name="connsiteX20" fmla="*/ 426816 w 5545537"/>
              <a:gd name="connsiteY20" fmla="*/ 5735384 h 6876003"/>
              <a:gd name="connsiteX21" fmla="*/ 9971 w 5545537"/>
              <a:gd name="connsiteY21" fmla="*/ 5223932 h 6876003"/>
              <a:gd name="connsiteX22" fmla="*/ 426816 w 5545537"/>
              <a:gd name="connsiteY22" fmla="*/ 4712481 h 6876003"/>
              <a:gd name="connsiteX23" fmla="*/ 512040 w 5545537"/>
              <a:gd name="connsiteY23" fmla="*/ 4703889 h 6876003"/>
              <a:gd name="connsiteX24" fmla="*/ 512040 w 5545537"/>
              <a:gd name="connsiteY24" fmla="*/ 4703511 h 6876003"/>
              <a:gd name="connsiteX25" fmla="*/ 423086 w 5545537"/>
              <a:gd name="connsiteY25" fmla="*/ 4694544 h 6876003"/>
              <a:gd name="connsiteX26" fmla="*/ 0 w 5545537"/>
              <a:gd name="connsiteY26" fmla="*/ 4175435 h 6876003"/>
              <a:gd name="connsiteX27" fmla="*/ 529874 w 5545537"/>
              <a:gd name="connsiteY27" fmla="*/ 3645561 h 6876003"/>
              <a:gd name="connsiteX28" fmla="*/ 1048983 w 5545537"/>
              <a:gd name="connsiteY28" fmla="*/ 4068647 h 6876003"/>
              <a:gd name="connsiteX29" fmla="*/ 1057146 w 5545537"/>
              <a:gd name="connsiteY29" fmla="*/ 4149617 h 6876003"/>
              <a:gd name="connsiteX30" fmla="*/ 1069719 w 5545537"/>
              <a:gd name="connsiteY30" fmla="*/ 4620012 h 6876003"/>
              <a:gd name="connsiteX31" fmla="*/ 1095113 w 5545537"/>
              <a:gd name="connsiteY31" fmla="*/ 4538207 h 6876003"/>
              <a:gd name="connsiteX32" fmla="*/ 1576145 w 5545537"/>
              <a:gd name="connsiteY32" fmla="*/ 4219357 h 6876003"/>
              <a:gd name="connsiteX33" fmla="*/ 1609779 w 5545537"/>
              <a:gd name="connsiteY33" fmla="*/ 4222748 h 6876003"/>
              <a:gd name="connsiteX34" fmla="*/ 1609779 w 5545537"/>
              <a:gd name="connsiteY34" fmla="*/ 4205666 h 6876003"/>
              <a:gd name="connsiteX35" fmla="*/ 1577115 w 5545537"/>
              <a:gd name="connsiteY35" fmla="*/ 4208959 h 6876003"/>
              <a:gd name="connsiteX36" fmla="*/ 1055057 w 5545537"/>
              <a:gd name="connsiteY36" fmla="*/ 3686901 h 6876003"/>
              <a:gd name="connsiteX37" fmla="*/ 1577115 w 5545537"/>
              <a:gd name="connsiteY37" fmla="*/ 3164843 h 6876003"/>
              <a:gd name="connsiteX38" fmla="*/ 2088567 w 5545537"/>
              <a:gd name="connsiteY38" fmla="*/ 3581688 h 6876003"/>
              <a:gd name="connsiteX39" fmla="*/ 2098635 w 5545537"/>
              <a:gd name="connsiteY39" fmla="*/ 3681565 h 6876003"/>
              <a:gd name="connsiteX40" fmla="*/ 2113837 w 5545537"/>
              <a:gd name="connsiteY40" fmla="*/ 3681565 h 6876003"/>
              <a:gd name="connsiteX41" fmla="*/ 2113837 w 5545537"/>
              <a:gd name="connsiteY41" fmla="*/ 2637449 h 6876003"/>
              <a:gd name="connsiteX42" fmla="*/ 2114775 w 5545537"/>
              <a:gd name="connsiteY42" fmla="*/ 2637449 h 6876003"/>
              <a:gd name="connsiteX43" fmla="*/ 2113835 w 5545537"/>
              <a:gd name="connsiteY43" fmla="*/ 2628122 h 6876003"/>
              <a:gd name="connsiteX44" fmla="*/ 2635893 w 5545537"/>
              <a:gd name="connsiteY44" fmla="*/ 2106064 h 6876003"/>
              <a:gd name="connsiteX45" fmla="*/ 2649648 w 5545537"/>
              <a:gd name="connsiteY45" fmla="*/ 2107451 h 6876003"/>
              <a:gd name="connsiteX46" fmla="*/ 2649648 w 5545537"/>
              <a:gd name="connsiteY46" fmla="*/ 2090015 h 6876003"/>
              <a:gd name="connsiteX47" fmla="*/ 2635894 w 5545537"/>
              <a:gd name="connsiteY47" fmla="*/ 2091401 h 6876003"/>
              <a:gd name="connsiteX48" fmla="*/ 2113836 w 5545537"/>
              <a:gd name="connsiteY48" fmla="*/ 1569343 h 6876003"/>
              <a:gd name="connsiteX49" fmla="*/ 2635894 w 5545537"/>
              <a:gd name="connsiteY49" fmla="*/ 1047285 h 6876003"/>
              <a:gd name="connsiteX50" fmla="*/ 2649648 w 5545537"/>
              <a:gd name="connsiteY50" fmla="*/ 1048672 h 6876003"/>
              <a:gd name="connsiteX51" fmla="*/ 2649648 w 5545537"/>
              <a:gd name="connsiteY51" fmla="*/ 1043268 h 6876003"/>
              <a:gd name="connsiteX52" fmla="*/ 2689899 w 5545537"/>
              <a:gd name="connsiteY52" fmla="*/ 1039210 h 6876003"/>
              <a:gd name="connsiteX53" fmla="*/ 2689899 w 5545537"/>
              <a:gd name="connsiteY53" fmla="*/ 1038672 h 6876003"/>
              <a:gd name="connsiteX54" fmla="*/ 2635893 w 5545537"/>
              <a:gd name="connsiteY54" fmla="*/ 1044116 h 6876003"/>
              <a:gd name="connsiteX55" fmla="*/ 2113835 w 5545537"/>
              <a:gd name="connsiteY55" fmla="*/ 522058 h 6876003"/>
              <a:gd name="connsiteX56" fmla="*/ 2635893 w 5545537"/>
              <a:gd name="connsiteY56" fmla="*/ 0 h 6876003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4761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72488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876022"/>
              <a:gd name="connsiteX1" fmla="*/ 2099173 w 5545537"/>
              <a:gd name="connsiteY1" fmla="*/ 2628122 h 6876022"/>
              <a:gd name="connsiteX2" fmla="*/ 1577115 w 5545537"/>
              <a:gd name="connsiteY2" fmla="*/ 3150180 h 6876022"/>
              <a:gd name="connsiteX3" fmla="*/ 1055057 w 5545537"/>
              <a:gd name="connsiteY3" fmla="*/ 2628122 h 6876022"/>
              <a:gd name="connsiteX4" fmla="*/ 1577115 w 5545537"/>
              <a:gd name="connsiteY4" fmla="*/ 2106064 h 6876022"/>
              <a:gd name="connsiteX5" fmla="*/ 2635893 w 5545537"/>
              <a:gd name="connsiteY5" fmla="*/ 0 h 6876022"/>
              <a:gd name="connsiteX6" fmla="*/ 2649648 w 5545537"/>
              <a:gd name="connsiteY6" fmla="*/ 1387 h 6876022"/>
              <a:gd name="connsiteX7" fmla="*/ 2649648 w 5545537"/>
              <a:gd name="connsiteY7" fmla="*/ 537 h 6876022"/>
              <a:gd name="connsiteX8" fmla="*/ 2689899 w 5545537"/>
              <a:gd name="connsiteY8" fmla="*/ 537 h 6876022"/>
              <a:gd name="connsiteX9" fmla="*/ 2689899 w 5545537"/>
              <a:gd name="connsiteY9" fmla="*/ 0 h 6876022"/>
              <a:gd name="connsiteX10" fmla="*/ 3846766 w 5545537"/>
              <a:gd name="connsiteY10" fmla="*/ 0 h 6876022"/>
              <a:gd name="connsiteX11" fmla="*/ 3846766 w 5545537"/>
              <a:gd name="connsiteY11" fmla="*/ 537 h 6876022"/>
              <a:gd name="connsiteX12" fmla="*/ 5545537 w 5545537"/>
              <a:gd name="connsiteY12" fmla="*/ 537 h 6876022"/>
              <a:gd name="connsiteX13" fmla="*/ 5545537 w 5545537"/>
              <a:gd name="connsiteY13" fmla="*/ 6876000 h 6876022"/>
              <a:gd name="connsiteX14" fmla="*/ 1067337 w 5545537"/>
              <a:gd name="connsiteY14" fmla="*/ 6863300 h 6876022"/>
              <a:gd name="connsiteX15" fmla="*/ 1069719 w 5545537"/>
              <a:gd name="connsiteY15" fmla="*/ 6318334 h 6876022"/>
              <a:gd name="connsiteX16" fmla="*/ 1069720 w 5545537"/>
              <a:gd name="connsiteY16" fmla="*/ 6318321 h 6876022"/>
              <a:gd name="connsiteX17" fmla="*/ 1069719 w 5545537"/>
              <a:gd name="connsiteY17" fmla="*/ 6318310 h 6876022"/>
              <a:gd name="connsiteX18" fmla="*/ 1061010 w 5545537"/>
              <a:gd name="connsiteY18" fmla="*/ 6219603 h 6876022"/>
              <a:gd name="connsiteX19" fmla="*/ 624433 w 5545537"/>
              <a:gd name="connsiteY19" fmla="*/ 5771972 h 6876022"/>
              <a:gd name="connsiteX20" fmla="*/ 426816 w 5545537"/>
              <a:gd name="connsiteY20" fmla="*/ 5735384 h 6876022"/>
              <a:gd name="connsiteX21" fmla="*/ 9971 w 5545537"/>
              <a:gd name="connsiteY21" fmla="*/ 5223932 h 6876022"/>
              <a:gd name="connsiteX22" fmla="*/ 426816 w 5545537"/>
              <a:gd name="connsiteY22" fmla="*/ 4712481 h 6876022"/>
              <a:gd name="connsiteX23" fmla="*/ 512040 w 5545537"/>
              <a:gd name="connsiteY23" fmla="*/ 4703889 h 6876022"/>
              <a:gd name="connsiteX24" fmla="*/ 512040 w 5545537"/>
              <a:gd name="connsiteY24" fmla="*/ 4703511 h 6876022"/>
              <a:gd name="connsiteX25" fmla="*/ 423086 w 5545537"/>
              <a:gd name="connsiteY25" fmla="*/ 4694544 h 6876022"/>
              <a:gd name="connsiteX26" fmla="*/ 0 w 5545537"/>
              <a:gd name="connsiteY26" fmla="*/ 4175435 h 6876022"/>
              <a:gd name="connsiteX27" fmla="*/ 529874 w 5545537"/>
              <a:gd name="connsiteY27" fmla="*/ 3645561 h 6876022"/>
              <a:gd name="connsiteX28" fmla="*/ 1048983 w 5545537"/>
              <a:gd name="connsiteY28" fmla="*/ 4068647 h 6876022"/>
              <a:gd name="connsiteX29" fmla="*/ 1057146 w 5545537"/>
              <a:gd name="connsiteY29" fmla="*/ 4149617 h 6876022"/>
              <a:gd name="connsiteX30" fmla="*/ 1069719 w 5545537"/>
              <a:gd name="connsiteY30" fmla="*/ 4620012 h 6876022"/>
              <a:gd name="connsiteX31" fmla="*/ 1095113 w 5545537"/>
              <a:gd name="connsiteY31" fmla="*/ 4538207 h 6876022"/>
              <a:gd name="connsiteX32" fmla="*/ 1576145 w 5545537"/>
              <a:gd name="connsiteY32" fmla="*/ 4219357 h 6876022"/>
              <a:gd name="connsiteX33" fmla="*/ 1609779 w 5545537"/>
              <a:gd name="connsiteY33" fmla="*/ 4222748 h 6876022"/>
              <a:gd name="connsiteX34" fmla="*/ 1609779 w 5545537"/>
              <a:gd name="connsiteY34" fmla="*/ 4205666 h 6876022"/>
              <a:gd name="connsiteX35" fmla="*/ 1577115 w 5545537"/>
              <a:gd name="connsiteY35" fmla="*/ 4208959 h 6876022"/>
              <a:gd name="connsiteX36" fmla="*/ 1055057 w 5545537"/>
              <a:gd name="connsiteY36" fmla="*/ 3686901 h 6876022"/>
              <a:gd name="connsiteX37" fmla="*/ 1577115 w 5545537"/>
              <a:gd name="connsiteY37" fmla="*/ 3164843 h 6876022"/>
              <a:gd name="connsiteX38" fmla="*/ 2088567 w 5545537"/>
              <a:gd name="connsiteY38" fmla="*/ 3581688 h 6876022"/>
              <a:gd name="connsiteX39" fmla="*/ 2098635 w 5545537"/>
              <a:gd name="connsiteY39" fmla="*/ 3681565 h 6876022"/>
              <a:gd name="connsiteX40" fmla="*/ 2113837 w 5545537"/>
              <a:gd name="connsiteY40" fmla="*/ 3681565 h 6876022"/>
              <a:gd name="connsiteX41" fmla="*/ 2113837 w 5545537"/>
              <a:gd name="connsiteY41" fmla="*/ 2637449 h 6876022"/>
              <a:gd name="connsiteX42" fmla="*/ 2114775 w 5545537"/>
              <a:gd name="connsiteY42" fmla="*/ 2637449 h 6876022"/>
              <a:gd name="connsiteX43" fmla="*/ 2113835 w 5545537"/>
              <a:gd name="connsiteY43" fmla="*/ 2628122 h 6876022"/>
              <a:gd name="connsiteX44" fmla="*/ 2635893 w 5545537"/>
              <a:gd name="connsiteY44" fmla="*/ 2106064 h 6876022"/>
              <a:gd name="connsiteX45" fmla="*/ 2649648 w 5545537"/>
              <a:gd name="connsiteY45" fmla="*/ 2107451 h 6876022"/>
              <a:gd name="connsiteX46" fmla="*/ 2649648 w 5545537"/>
              <a:gd name="connsiteY46" fmla="*/ 2090015 h 6876022"/>
              <a:gd name="connsiteX47" fmla="*/ 2635894 w 5545537"/>
              <a:gd name="connsiteY47" fmla="*/ 2091401 h 6876022"/>
              <a:gd name="connsiteX48" fmla="*/ 2113836 w 5545537"/>
              <a:gd name="connsiteY48" fmla="*/ 1569343 h 6876022"/>
              <a:gd name="connsiteX49" fmla="*/ 2635894 w 5545537"/>
              <a:gd name="connsiteY49" fmla="*/ 1047285 h 6876022"/>
              <a:gd name="connsiteX50" fmla="*/ 2649648 w 5545537"/>
              <a:gd name="connsiteY50" fmla="*/ 1048672 h 6876022"/>
              <a:gd name="connsiteX51" fmla="*/ 2649648 w 5545537"/>
              <a:gd name="connsiteY51" fmla="*/ 1043268 h 6876022"/>
              <a:gd name="connsiteX52" fmla="*/ 2689899 w 5545537"/>
              <a:gd name="connsiteY52" fmla="*/ 1039210 h 6876022"/>
              <a:gd name="connsiteX53" fmla="*/ 2689899 w 5545537"/>
              <a:gd name="connsiteY53" fmla="*/ 1038672 h 6876022"/>
              <a:gd name="connsiteX54" fmla="*/ 2635893 w 5545537"/>
              <a:gd name="connsiteY54" fmla="*/ 1044116 h 6876022"/>
              <a:gd name="connsiteX55" fmla="*/ 2113835 w 5545537"/>
              <a:gd name="connsiteY55" fmla="*/ 522058 h 6876022"/>
              <a:gd name="connsiteX56" fmla="*/ 2635893 w 5545537"/>
              <a:gd name="connsiteY56" fmla="*/ 0 h 6876022"/>
              <a:gd name="connsiteX0" fmla="*/ 1577115 w 5545537"/>
              <a:gd name="connsiteY0" fmla="*/ 2106064 h 6942972"/>
              <a:gd name="connsiteX1" fmla="*/ 2099173 w 5545537"/>
              <a:gd name="connsiteY1" fmla="*/ 2628122 h 6942972"/>
              <a:gd name="connsiteX2" fmla="*/ 1577115 w 5545537"/>
              <a:gd name="connsiteY2" fmla="*/ 3150180 h 6942972"/>
              <a:gd name="connsiteX3" fmla="*/ 1055057 w 5545537"/>
              <a:gd name="connsiteY3" fmla="*/ 2628122 h 6942972"/>
              <a:gd name="connsiteX4" fmla="*/ 1577115 w 5545537"/>
              <a:gd name="connsiteY4" fmla="*/ 2106064 h 6942972"/>
              <a:gd name="connsiteX5" fmla="*/ 2635893 w 5545537"/>
              <a:gd name="connsiteY5" fmla="*/ 0 h 6942972"/>
              <a:gd name="connsiteX6" fmla="*/ 2649648 w 5545537"/>
              <a:gd name="connsiteY6" fmla="*/ 1387 h 6942972"/>
              <a:gd name="connsiteX7" fmla="*/ 2649648 w 5545537"/>
              <a:gd name="connsiteY7" fmla="*/ 537 h 6942972"/>
              <a:gd name="connsiteX8" fmla="*/ 2689899 w 5545537"/>
              <a:gd name="connsiteY8" fmla="*/ 537 h 6942972"/>
              <a:gd name="connsiteX9" fmla="*/ 2689899 w 5545537"/>
              <a:gd name="connsiteY9" fmla="*/ 0 h 6942972"/>
              <a:gd name="connsiteX10" fmla="*/ 3846766 w 5545537"/>
              <a:gd name="connsiteY10" fmla="*/ 0 h 6942972"/>
              <a:gd name="connsiteX11" fmla="*/ 3846766 w 5545537"/>
              <a:gd name="connsiteY11" fmla="*/ 537 h 6942972"/>
              <a:gd name="connsiteX12" fmla="*/ 5545537 w 5545537"/>
              <a:gd name="connsiteY12" fmla="*/ 537 h 6942972"/>
              <a:gd name="connsiteX13" fmla="*/ 5540385 w 5545537"/>
              <a:gd name="connsiteY13" fmla="*/ 6942970 h 6942972"/>
              <a:gd name="connsiteX14" fmla="*/ 1067337 w 5545537"/>
              <a:gd name="connsiteY14" fmla="*/ 6863300 h 6942972"/>
              <a:gd name="connsiteX15" fmla="*/ 1069719 w 5545537"/>
              <a:gd name="connsiteY15" fmla="*/ 6318334 h 6942972"/>
              <a:gd name="connsiteX16" fmla="*/ 1069720 w 5545537"/>
              <a:gd name="connsiteY16" fmla="*/ 6318321 h 6942972"/>
              <a:gd name="connsiteX17" fmla="*/ 1069719 w 5545537"/>
              <a:gd name="connsiteY17" fmla="*/ 6318310 h 6942972"/>
              <a:gd name="connsiteX18" fmla="*/ 1061010 w 5545537"/>
              <a:gd name="connsiteY18" fmla="*/ 6219603 h 6942972"/>
              <a:gd name="connsiteX19" fmla="*/ 624433 w 5545537"/>
              <a:gd name="connsiteY19" fmla="*/ 5771972 h 6942972"/>
              <a:gd name="connsiteX20" fmla="*/ 426816 w 5545537"/>
              <a:gd name="connsiteY20" fmla="*/ 5735384 h 6942972"/>
              <a:gd name="connsiteX21" fmla="*/ 9971 w 5545537"/>
              <a:gd name="connsiteY21" fmla="*/ 5223932 h 6942972"/>
              <a:gd name="connsiteX22" fmla="*/ 426816 w 5545537"/>
              <a:gd name="connsiteY22" fmla="*/ 4712481 h 6942972"/>
              <a:gd name="connsiteX23" fmla="*/ 512040 w 5545537"/>
              <a:gd name="connsiteY23" fmla="*/ 4703889 h 6942972"/>
              <a:gd name="connsiteX24" fmla="*/ 512040 w 5545537"/>
              <a:gd name="connsiteY24" fmla="*/ 4703511 h 6942972"/>
              <a:gd name="connsiteX25" fmla="*/ 423086 w 5545537"/>
              <a:gd name="connsiteY25" fmla="*/ 4694544 h 6942972"/>
              <a:gd name="connsiteX26" fmla="*/ 0 w 5545537"/>
              <a:gd name="connsiteY26" fmla="*/ 4175435 h 6942972"/>
              <a:gd name="connsiteX27" fmla="*/ 529874 w 5545537"/>
              <a:gd name="connsiteY27" fmla="*/ 3645561 h 6942972"/>
              <a:gd name="connsiteX28" fmla="*/ 1048983 w 5545537"/>
              <a:gd name="connsiteY28" fmla="*/ 4068647 h 6942972"/>
              <a:gd name="connsiteX29" fmla="*/ 1057146 w 5545537"/>
              <a:gd name="connsiteY29" fmla="*/ 4149617 h 6942972"/>
              <a:gd name="connsiteX30" fmla="*/ 1069719 w 5545537"/>
              <a:gd name="connsiteY30" fmla="*/ 4620012 h 6942972"/>
              <a:gd name="connsiteX31" fmla="*/ 1095113 w 5545537"/>
              <a:gd name="connsiteY31" fmla="*/ 4538207 h 6942972"/>
              <a:gd name="connsiteX32" fmla="*/ 1576145 w 5545537"/>
              <a:gd name="connsiteY32" fmla="*/ 4219357 h 6942972"/>
              <a:gd name="connsiteX33" fmla="*/ 1609779 w 5545537"/>
              <a:gd name="connsiteY33" fmla="*/ 4222748 h 6942972"/>
              <a:gd name="connsiteX34" fmla="*/ 1609779 w 5545537"/>
              <a:gd name="connsiteY34" fmla="*/ 4205666 h 6942972"/>
              <a:gd name="connsiteX35" fmla="*/ 1577115 w 5545537"/>
              <a:gd name="connsiteY35" fmla="*/ 4208959 h 6942972"/>
              <a:gd name="connsiteX36" fmla="*/ 1055057 w 5545537"/>
              <a:gd name="connsiteY36" fmla="*/ 3686901 h 6942972"/>
              <a:gd name="connsiteX37" fmla="*/ 1577115 w 5545537"/>
              <a:gd name="connsiteY37" fmla="*/ 3164843 h 6942972"/>
              <a:gd name="connsiteX38" fmla="*/ 2088567 w 5545537"/>
              <a:gd name="connsiteY38" fmla="*/ 3581688 h 6942972"/>
              <a:gd name="connsiteX39" fmla="*/ 2098635 w 5545537"/>
              <a:gd name="connsiteY39" fmla="*/ 3681565 h 6942972"/>
              <a:gd name="connsiteX40" fmla="*/ 2113837 w 5545537"/>
              <a:gd name="connsiteY40" fmla="*/ 3681565 h 6942972"/>
              <a:gd name="connsiteX41" fmla="*/ 2113837 w 5545537"/>
              <a:gd name="connsiteY41" fmla="*/ 2637449 h 6942972"/>
              <a:gd name="connsiteX42" fmla="*/ 2114775 w 5545537"/>
              <a:gd name="connsiteY42" fmla="*/ 2637449 h 6942972"/>
              <a:gd name="connsiteX43" fmla="*/ 2113835 w 5545537"/>
              <a:gd name="connsiteY43" fmla="*/ 2628122 h 6942972"/>
              <a:gd name="connsiteX44" fmla="*/ 2635893 w 5545537"/>
              <a:gd name="connsiteY44" fmla="*/ 2106064 h 6942972"/>
              <a:gd name="connsiteX45" fmla="*/ 2649648 w 5545537"/>
              <a:gd name="connsiteY45" fmla="*/ 2107451 h 6942972"/>
              <a:gd name="connsiteX46" fmla="*/ 2649648 w 5545537"/>
              <a:gd name="connsiteY46" fmla="*/ 2090015 h 6942972"/>
              <a:gd name="connsiteX47" fmla="*/ 2635894 w 5545537"/>
              <a:gd name="connsiteY47" fmla="*/ 2091401 h 6942972"/>
              <a:gd name="connsiteX48" fmla="*/ 2113836 w 5545537"/>
              <a:gd name="connsiteY48" fmla="*/ 1569343 h 6942972"/>
              <a:gd name="connsiteX49" fmla="*/ 2635894 w 5545537"/>
              <a:gd name="connsiteY49" fmla="*/ 1047285 h 6942972"/>
              <a:gd name="connsiteX50" fmla="*/ 2649648 w 5545537"/>
              <a:gd name="connsiteY50" fmla="*/ 1048672 h 6942972"/>
              <a:gd name="connsiteX51" fmla="*/ 2649648 w 5545537"/>
              <a:gd name="connsiteY51" fmla="*/ 1043268 h 6942972"/>
              <a:gd name="connsiteX52" fmla="*/ 2689899 w 5545537"/>
              <a:gd name="connsiteY52" fmla="*/ 1039210 h 6942972"/>
              <a:gd name="connsiteX53" fmla="*/ 2689899 w 5545537"/>
              <a:gd name="connsiteY53" fmla="*/ 1038672 h 6942972"/>
              <a:gd name="connsiteX54" fmla="*/ 2635893 w 5545537"/>
              <a:gd name="connsiteY54" fmla="*/ 1044116 h 6942972"/>
              <a:gd name="connsiteX55" fmla="*/ 2113835 w 5545537"/>
              <a:gd name="connsiteY55" fmla="*/ 522058 h 6942972"/>
              <a:gd name="connsiteX56" fmla="*/ 2635893 w 5545537"/>
              <a:gd name="connsiteY56" fmla="*/ 0 h 6942972"/>
              <a:gd name="connsiteX0" fmla="*/ 1577115 w 5545537"/>
              <a:gd name="connsiteY0" fmla="*/ 2106064 h 6863435"/>
              <a:gd name="connsiteX1" fmla="*/ 2099173 w 5545537"/>
              <a:gd name="connsiteY1" fmla="*/ 2628122 h 6863435"/>
              <a:gd name="connsiteX2" fmla="*/ 1577115 w 5545537"/>
              <a:gd name="connsiteY2" fmla="*/ 3150180 h 6863435"/>
              <a:gd name="connsiteX3" fmla="*/ 1055057 w 5545537"/>
              <a:gd name="connsiteY3" fmla="*/ 2628122 h 6863435"/>
              <a:gd name="connsiteX4" fmla="*/ 1577115 w 5545537"/>
              <a:gd name="connsiteY4" fmla="*/ 2106064 h 6863435"/>
              <a:gd name="connsiteX5" fmla="*/ 2635893 w 5545537"/>
              <a:gd name="connsiteY5" fmla="*/ 0 h 6863435"/>
              <a:gd name="connsiteX6" fmla="*/ 2649648 w 5545537"/>
              <a:gd name="connsiteY6" fmla="*/ 1387 h 6863435"/>
              <a:gd name="connsiteX7" fmla="*/ 2649648 w 5545537"/>
              <a:gd name="connsiteY7" fmla="*/ 537 h 6863435"/>
              <a:gd name="connsiteX8" fmla="*/ 2689899 w 5545537"/>
              <a:gd name="connsiteY8" fmla="*/ 537 h 6863435"/>
              <a:gd name="connsiteX9" fmla="*/ 2689899 w 5545537"/>
              <a:gd name="connsiteY9" fmla="*/ 0 h 6863435"/>
              <a:gd name="connsiteX10" fmla="*/ 3846766 w 5545537"/>
              <a:gd name="connsiteY10" fmla="*/ 0 h 6863435"/>
              <a:gd name="connsiteX11" fmla="*/ 3846766 w 5545537"/>
              <a:gd name="connsiteY11" fmla="*/ 537 h 6863435"/>
              <a:gd name="connsiteX12" fmla="*/ 5545537 w 5545537"/>
              <a:gd name="connsiteY12" fmla="*/ 537 h 6863435"/>
              <a:gd name="connsiteX13" fmla="*/ 5452809 w 5545537"/>
              <a:gd name="connsiteY13" fmla="*/ 6770393 h 6863435"/>
              <a:gd name="connsiteX14" fmla="*/ 1067337 w 5545537"/>
              <a:gd name="connsiteY14" fmla="*/ 6863300 h 6863435"/>
              <a:gd name="connsiteX15" fmla="*/ 1069719 w 5545537"/>
              <a:gd name="connsiteY15" fmla="*/ 6318334 h 6863435"/>
              <a:gd name="connsiteX16" fmla="*/ 1069720 w 5545537"/>
              <a:gd name="connsiteY16" fmla="*/ 6318321 h 6863435"/>
              <a:gd name="connsiteX17" fmla="*/ 1069719 w 5545537"/>
              <a:gd name="connsiteY17" fmla="*/ 6318310 h 6863435"/>
              <a:gd name="connsiteX18" fmla="*/ 1061010 w 5545537"/>
              <a:gd name="connsiteY18" fmla="*/ 6219603 h 6863435"/>
              <a:gd name="connsiteX19" fmla="*/ 624433 w 5545537"/>
              <a:gd name="connsiteY19" fmla="*/ 5771972 h 6863435"/>
              <a:gd name="connsiteX20" fmla="*/ 426816 w 5545537"/>
              <a:gd name="connsiteY20" fmla="*/ 5735384 h 6863435"/>
              <a:gd name="connsiteX21" fmla="*/ 9971 w 5545537"/>
              <a:gd name="connsiteY21" fmla="*/ 5223932 h 6863435"/>
              <a:gd name="connsiteX22" fmla="*/ 426816 w 5545537"/>
              <a:gd name="connsiteY22" fmla="*/ 4712481 h 6863435"/>
              <a:gd name="connsiteX23" fmla="*/ 512040 w 5545537"/>
              <a:gd name="connsiteY23" fmla="*/ 4703889 h 6863435"/>
              <a:gd name="connsiteX24" fmla="*/ 512040 w 5545537"/>
              <a:gd name="connsiteY24" fmla="*/ 4703511 h 6863435"/>
              <a:gd name="connsiteX25" fmla="*/ 423086 w 5545537"/>
              <a:gd name="connsiteY25" fmla="*/ 4694544 h 6863435"/>
              <a:gd name="connsiteX26" fmla="*/ 0 w 5545537"/>
              <a:gd name="connsiteY26" fmla="*/ 4175435 h 6863435"/>
              <a:gd name="connsiteX27" fmla="*/ 529874 w 5545537"/>
              <a:gd name="connsiteY27" fmla="*/ 3645561 h 6863435"/>
              <a:gd name="connsiteX28" fmla="*/ 1048983 w 5545537"/>
              <a:gd name="connsiteY28" fmla="*/ 4068647 h 6863435"/>
              <a:gd name="connsiteX29" fmla="*/ 1057146 w 5545537"/>
              <a:gd name="connsiteY29" fmla="*/ 4149617 h 6863435"/>
              <a:gd name="connsiteX30" fmla="*/ 1069719 w 5545537"/>
              <a:gd name="connsiteY30" fmla="*/ 4620012 h 6863435"/>
              <a:gd name="connsiteX31" fmla="*/ 1095113 w 5545537"/>
              <a:gd name="connsiteY31" fmla="*/ 4538207 h 6863435"/>
              <a:gd name="connsiteX32" fmla="*/ 1576145 w 5545537"/>
              <a:gd name="connsiteY32" fmla="*/ 4219357 h 6863435"/>
              <a:gd name="connsiteX33" fmla="*/ 1609779 w 5545537"/>
              <a:gd name="connsiteY33" fmla="*/ 4222748 h 6863435"/>
              <a:gd name="connsiteX34" fmla="*/ 1609779 w 5545537"/>
              <a:gd name="connsiteY34" fmla="*/ 4205666 h 6863435"/>
              <a:gd name="connsiteX35" fmla="*/ 1577115 w 5545537"/>
              <a:gd name="connsiteY35" fmla="*/ 4208959 h 6863435"/>
              <a:gd name="connsiteX36" fmla="*/ 1055057 w 5545537"/>
              <a:gd name="connsiteY36" fmla="*/ 3686901 h 6863435"/>
              <a:gd name="connsiteX37" fmla="*/ 1577115 w 5545537"/>
              <a:gd name="connsiteY37" fmla="*/ 3164843 h 6863435"/>
              <a:gd name="connsiteX38" fmla="*/ 2088567 w 5545537"/>
              <a:gd name="connsiteY38" fmla="*/ 3581688 h 6863435"/>
              <a:gd name="connsiteX39" fmla="*/ 2098635 w 5545537"/>
              <a:gd name="connsiteY39" fmla="*/ 3681565 h 6863435"/>
              <a:gd name="connsiteX40" fmla="*/ 2113837 w 5545537"/>
              <a:gd name="connsiteY40" fmla="*/ 3681565 h 6863435"/>
              <a:gd name="connsiteX41" fmla="*/ 2113837 w 5545537"/>
              <a:gd name="connsiteY41" fmla="*/ 2637449 h 6863435"/>
              <a:gd name="connsiteX42" fmla="*/ 2114775 w 5545537"/>
              <a:gd name="connsiteY42" fmla="*/ 2637449 h 6863435"/>
              <a:gd name="connsiteX43" fmla="*/ 2113835 w 5545537"/>
              <a:gd name="connsiteY43" fmla="*/ 2628122 h 6863435"/>
              <a:gd name="connsiteX44" fmla="*/ 2635893 w 5545537"/>
              <a:gd name="connsiteY44" fmla="*/ 2106064 h 6863435"/>
              <a:gd name="connsiteX45" fmla="*/ 2649648 w 5545537"/>
              <a:gd name="connsiteY45" fmla="*/ 2107451 h 6863435"/>
              <a:gd name="connsiteX46" fmla="*/ 2649648 w 5545537"/>
              <a:gd name="connsiteY46" fmla="*/ 2090015 h 6863435"/>
              <a:gd name="connsiteX47" fmla="*/ 2635894 w 5545537"/>
              <a:gd name="connsiteY47" fmla="*/ 2091401 h 6863435"/>
              <a:gd name="connsiteX48" fmla="*/ 2113836 w 5545537"/>
              <a:gd name="connsiteY48" fmla="*/ 1569343 h 6863435"/>
              <a:gd name="connsiteX49" fmla="*/ 2635894 w 5545537"/>
              <a:gd name="connsiteY49" fmla="*/ 1047285 h 6863435"/>
              <a:gd name="connsiteX50" fmla="*/ 2649648 w 5545537"/>
              <a:gd name="connsiteY50" fmla="*/ 1048672 h 6863435"/>
              <a:gd name="connsiteX51" fmla="*/ 2649648 w 5545537"/>
              <a:gd name="connsiteY51" fmla="*/ 1043268 h 6863435"/>
              <a:gd name="connsiteX52" fmla="*/ 2689899 w 5545537"/>
              <a:gd name="connsiteY52" fmla="*/ 1039210 h 6863435"/>
              <a:gd name="connsiteX53" fmla="*/ 2689899 w 5545537"/>
              <a:gd name="connsiteY53" fmla="*/ 1038672 h 6863435"/>
              <a:gd name="connsiteX54" fmla="*/ 2635893 w 5545537"/>
              <a:gd name="connsiteY54" fmla="*/ 1044116 h 6863435"/>
              <a:gd name="connsiteX55" fmla="*/ 2113835 w 5545537"/>
              <a:gd name="connsiteY55" fmla="*/ 522058 h 6863435"/>
              <a:gd name="connsiteX56" fmla="*/ 2635893 w 5545537"/>
              <a:gd name="connsiteY56" fmla="*/ 0 h 6863435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2689899 w 5546031"/>
              <a:gd name="connsiteY9" fmla="*/ 0 h 6864730"/>
              <a:gd name="connsiteX10" fmla="*/ 3846766 w 5546031"/>
              <a:gd name="connsiteY10" fmla="*/ 0 h 6864730"/>
              <a:gd name="connsiteX11" fmla="*/ 3846766 w 5546031"/>
              <a:gd name="connsiteY11" fmla="*/ 537 h 6864730"/>
              <a:gd name="connsiteX12" fmla="*/ 5545537 w 5546031"/>
              <a:gd name="connsiteY12" fmla="*/ 537 h 6864730"/>
              <a:gd name="connsiteX13" fmla="*/ 5545536 w 5546031"/>
              <a:gd name="connsiteY13" fmla="*/ 6860545 h 6864730"/>
              <a:gd name="connsiteX14" fmla="*/ 1067337 w 5546031"/>
              <a:gd name="connsiteY14" fmla="*/ 6863300 h 6864730"/>
              <a:gd name="connsiteX15" fmla="*/ 1069719 w 5546031"/>
              <a:gd name="connsiteY15" fmla="*/ 6318334 h 6864730"/>
              <a:gd name="connsiteX16" fmla="*/ 1069720 w 5546031"/>
              <a:gd name="connsiteY16" fmla="*/ 6318321 h 6864730"/>
              <a:gd name="connsiteX17" fmla="*/ 1069719 w 5546031"/>
              <a:gd name="connsiteY17" fmla="*/ 6318310 h 6864730"/>
              <a:gd name="connsiteX18" fmla="*/ 1061010 w 5546031"/>
              <a:gd name="connsiteY18" fmla="*/ 6219603 h 6864730"/>
              <a:gd name="connsiteX19" fmla="*/ 624433 w 5546031"/>
              <a:gd name="connsiteY19" fmla="*/ 5771972 h 6864730"/>
              <a:gd name="connsiteX20" fmla="*/ 426816 w 5546031"/>
              <a:gd name="connsiteY20" fmla="*/ 5735384 h 6864730"/>
              <a:gd name="connsiteX21" fmla="*/ 9971 w 5546031"/>
              <a:gd name="connsiteY21" fmla="*/ 5223932 h 6864730"/>
              <a:gd name="connsiteX22" fmla="*/ 426816 w 5546031"/>
              <a:gd name="connsiteY22" fmla="*/ 4712481 h 6864730"/>
              <a:gd name="connsiteX23" fmla="*/ 512040 w 5546031"/>
              <a:gd name="connsiteY23" fmla="*/ 4703889 h 6864730"/>
              <a:gd name="connsiteX24" fmla="*/ 512040 w 5546031"/>
              <a:gd name="connsiteY24" fmla="*/ 4703511 h 6864730"/>
              <a:gd name="connsiteX25" fmla="*/ 423086 w 5546031"/>
              <a:gd name="connsiteY25" fmla="*/ 4694544 h 6864730"/>
              <a:gd name="connsiteX26" fmla="*/ 0 w 5546031"/>
              <a:gd name="connsiteY26" fmla="*/ 4175435 h 6864730"/>
              <a:gd name="connsiteX27" fmla="*/ 529874 w 5546031"/>
              <a:gd name="connsiteY27" fmla="*/ 3645561 h 6864730"/>
              <a:gd name="connsiteX28" fmla="*/ 1048983 w 5546031"/>
              <a:gd name="connsiteY28" fmla="*/ 4068647 h 6864730"/>
              <a:gd name="connsiteX29" fmla="*/ 1057146 w 5546031"/>
              <a:gd name="connsiteY29" fmla="*/ 4149617 h 6864730"/>
              <a:gd name="connsiteX30" fmla="*/ 1069719 w 5546031"/>
              <a:gd name="connsiteY30" fmla="*/ 4620012 h 6864730"/>
              <a:gd name="connsiteX31" fmla="*/ 1095113 w 5546031"/>
              <a:gd name="connsiteY31" fmla="*/ 4538207 h 6864730"/>
              <a:gd name="connsiteX32" fmla="*/ 1576145 w 5546031"/>
              <a:gd name="connsiteY32" fmla="*/ 4219357 h 6864730"/>
              <a:gd name="connsiteX33" fmla="*/ 1609779 w 5546031"/>
              <a:gd name="connsiteY33" fmla="*/ 4222748 h 6864730"/>
              <a:gd name="connsiteX34" fmla="*/ 1609779 w 5546031"/>
              <a:gd name="connsiteY34" fmla="*/ 4205666 h 6864730"/>
              <a:gd name="connsiteX35" fmla="*/ 1577115 w 5546031"/>
              <a:gd name="connsiteY35" fmla="*/ 4208959 h 6864730"/>
              <a:gd name="connsiteX36" fmla="*/ 1055057 w 5546031"/>
              <a:gd name="connsiteY36" fmla="*/ 3686901 h 6864730"/>
              <a:gd name="connsiteX37" fmla="*/ 1577115 w 5546031"/>
              <a:gd name="connsiteY37" fmla="*/ 3164843 h 6864730"/>
              <a:gd name="connsiteX38" fmla="*/ 2088567 w 5546031"/>
              <a:gd name="connsiteY38" fmla="*/ 3581688 h 6864730"/>
              <a:gd name="connsiteX39" fmla="*/ 2098635 w 5546031"/>
              <a:gd name="connsiteY39" fmla="*/ 3681565 h 6864730"/>
              <a:gd name="connsiteX40" fmla="*/ 2113837 w 5546031"/>
              <a:gd name="connsiteY40" fmla="*/ 3681565 h 6864730"/>
              <a:gd name="connsiteX41" fmla="*/ 2113837 w 5546031"/>
              <a:gd name="connsiteY41" fmla="*/ 2637449 h 6864730"/>
              <a:gd name="connsiteX42" fmla="*/ 2114775 w 5546031"/>
              <a:gd name="connsiteY42" fmla="*/ 2637449 h 6864730"/>
              <a:gd name="connsiteX43" fmla="*/ 2113835 w 5546031"/>
              <a:gd name="connsiteY43" fmla="*/ 2628122 h 6864730"/>
              <a:gd name="connsiteX44" fmla="*/ 2635893 w 5546031"/>
              <a:gd name="connsiteY44" fmla="*/ 2106064 h 6864730"/>
              <a:gd name="connsiteX45" fmla="*/ 2649648 w 5546031"/>
              <a:gd name="connsiteY45" fmla="*/ 2107451 h 6864730"/>
              <a:gd name="connsiteX46" fmla="*/ 2649648 w 5546031"/>
              <a:gd name="connsiteY46" fmla="*/ 2090015 h 6864730"/>
              <a:gd name="connsiteX47" fmla="*/ 2635894 w 5546031"/>
              <a:gd name="connsiteY47" fmla="*/ 2091401 h 6864730"/>
              <a:gd name="connsiteX48" fmla="*/ 2113836 w 5546031"/>
              <a:gd name="connsiteY48" fmla="*/ 1569343 h 6864730"/>
              <a:gd name="connsiteX49" fmla="*/ 2635894 w 5546031"/>
              <a:gd name="connsiteY49" fmla="*/ 1047285 h 6864730"/>
              <a:gd name="connsiteX50" fmla="*/ 2649648 w 5546031"/>
              <a:gd name="connsiteY50" fmla="*/ 1048672 h 6864730"/>
              <a:gd name="connsiteX51" fmla="*/ 2649648 w 5546031"/>
              <a:gd name="connsiteY51" fmla="*/ 1043268 h 6864730"/>
              <a:gd name="connsiteX52" fmla="*/ 2689899 w 5546031"/>
              <a:gd name="connsiteY52" fmla="*/ 1039210 h 6864730"/>
              <a:gd name="connsiteX53" fmla="*/ 2689899 w 5546031"/>
              <a:gd name="connsiteY53" fmla="*/ 1038672 h 6864730"/>
              <a:gd name="connsiteX54" fmla="*/ 2635893 w 5546031"/>
              <a:gd name="connsiteY54" fmla="*/ 1044116 h 6864730"/>
              <a:gd name="connsiteX55" fmla="*/ 2113835 w 5546031"/>
              <a:gd name="connsiteY55" fmla="*/ 522058 h 6864730"/>
              <a:gd name="connsiteX56" fmla="*/ 2635893 w 5546031"/>
              <a:gd name="connsiteY56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2689899 w 5546031"/>
              <a:gd name="connsiteY8" fmla="*/ 537 h 6864730"/>
              <a:gd name="connsiteX9" fmla="*/ 3846766 w 5546031"/>
              <a:gd name="connsiteY9" fmla="*/ 0 h 6864730"/>
              <a:gd name="connsiteX10" fmla="*/ 3846766 w 5546031"/>
              <a:gd name="connsiteY10" fmla="*/ 537 h 6864730"/>
              <a:gd name="connsiteX11" fmla="*/ 5545537 w 5546031"/>
              <a:gd name="connsiteY11" fmla="*/ 537 h 6864730"/>
              <a:gd name="connsiteX12" fmla="*/ 5545536 w 5546031"/>
              <a:gd name="connsiteY12" fmla="*/ 6860545 h 6864730"/>
              <a:gd name="connsiteX13" fmla="*/ 1067337 w 5546031"/>
              <a:gd name="connsiteY13" fmla="*/ 6863300 h 6864730"/>
              <a:gd name="connsiteX14" fmla="*/ 1069719 w 5546031"/>
              <a:gd name="connsiteY14" fmla="*/ 6318334 h 6864730"/>
              <a:gd name="connsiteX15" fmla="*/ 1069720 w 5546031"/>
              <a:gd name="connsiteY15" fmla="*/ 6318321 h 6864730"/>
              <a:gd name="connsiteX16" fmla="*/ 1069719 w 5546031"/>
              <a:gd name="connsiteY16" fmla="*/ 6318310 h 6864730"/>
              <a:gd name="connsiteX17" fmla="*/ 1061010 w 5546031"/>
              <a:gd name="connsiteY17" fmla="*/ 6219603 h 6864730"/>
              <a:gd name="connsiteX18" fmla="*/ 624433 w 5546031"/>
              <a:gd name="connsiteY18" fmla="*/ 5771972 h 6864730"/>
              <a:gd name="connsiteX19" fmla="*/ 426816 w 5546031"/>
              <a:gd name="connsiteY19" fmla="*/ 5735384 h 6864730"/>
              <a:gd name="connsiteX20" fmla="*/ 9971 w 5546031"/>
              <a:gd name="connsiteY20" fmla="*/ 5223932 h 6864730"/>
              <a:gd name="connsiteX21" fmla="*/ 426816 w 5546031"/>
              <a:gd name="connsiteY21" fmla="*/ 4712481 h 6864730"/>
              <a:gd name="connsiteX22" fmla="*/ 512040 w 5546031"/>
              <a:gd name="connsiteY22" fmla="*/ 4703889 h 6864730"/>
              <a:gd name="connsiteX23" fmla="*/ 512040 w 5546031"/>
              <a:gd name="connsiteY23" fmla="*/ 4703511 h 6864730"/>
              <a:gd name="connsiteX24" fmla="*/ 423086 w 5546031"/>
              <a:gd name="connsiteY24" fmla="*/ 4694544 h 6864730"/>
              <a:gd name="connsiteX25" fmla="*/ 0 w 5546031"/>
              <a:gd name="connsiteY25" fmla="*/ 4175435 h 6864730"/>
              <a:gd name="connsiteX26" fmla="*/ 529874 w 5546031"/>
              <a:gd name="connsiteY26" fmla="*/ 3645561 h 6864730"/>
              <a:gd name="connsiteX27" fmla="*/ 1048983 w 5546031"/>
              <a:gd name="connsiteY27" fmla="*/ 4068647 h 6864730"/>
              <a:gd name="connsiteX28" fmla="*/ 1057146 w 5546031"/>
              <a:gd name="connsiteY28" fmla="*/ 4149617 h 6864730"/>
              <a:gd name="connsiteX29" fmla="*/ 1069719 w 5546031"/>
              <a:gd name="connsiteY29" fmla="*/ 4620012 h 6864730"/>
              <a:gd name="connsiteX30" fmla="*/ 1095113 w 5546031"/>
              <a:gd name="connsiteY30" fmla="*/ 4538207 h 6864730"/>
              <a:gd name="connsiteX31" fmla="*/ 1576145 w 5546031"/>
              <a:gd name="connsiteY31" fmla="*/ 4219357 h 6864730"/>
              <a:gd name="connsiteX32" fmla="*/ 1609779 w 5546031"/>
              <a:gd name="connsiteY32" fmla="*/ 4222748 h 6864730"/>
              <a:gd name="connsiteX33" fmla="*/ 1609779 w 5546031"/>
              <a:gd name="connsiteY33" fmla="*/ 4205666 h 6864730"/>
              <a:gd name="connsiteX34" fmla="*/ 1577115 w 5546031"/>
              <a:gd name="connsiteY34" fmla="*/ 4208959 h 6864730"/>
              <a:gd name="connsiteX35" fmla="*/ 1055057 w 5546031"/>
              <a:gd name="connsiteY35" fmla="*/ 3686901 h 6864730"/>
              <a:gd name="connsiteX36" fmla="*/ 1577115 w 5546031"/>
              <a:gd name="connsiteY36" fmla="*/ 3164843 h 6864730"/>
              <a:gd name="connsiteX37" fmla="*/ 2088567 w 5546031"/>
              <a:gd name="connsiteY37" fmla="*/ 3581688 h 6864730"/>
              <a:gd name="connsiteX38" fmla="*/ 2098635 w 5546031"/>
              <a:gd name="connsiteY38" fmla="*/ 3681565 h 6864730"/>
              <a:gd name="connsiteX39" fmla="*/ 2113837 w 5546031"/>
              <a:gd name="connsiteY39" fmla="*/ 3681565 h 6864730"/>
              <a:gd name="connsiteX40" fmla="*/ 2113837 w 5546031"/>
              <a:gd name="connsiteY40" fmla="*/ 2637449 h 6864730"/>
              <a:gd name="connsiteX41" fmla="*/ 2114775 w 5546031"/>
              <a:gd name="connsiteY41" fmla="*/ 2637449 h 6864730"/>
              <a:gd name="connsiteX42" fmla="*/ 2113835 w 5546031"/>
              <a:gd name="connsiteY42" fmla="*/ 2628122 h 6864730"/>
              <a:gd name="connsiteX43" fmla="*/ 2635893 w 5546031"/>
              <a:gd name="connsiteY43" fmla="*/ 2106064 h 6864730"/>
              <a:gd name="connsiteX44" fmla="*/ 2649648 w 5546031"/>
              <a:gd name="connsiteY44" fmla="*/ 2107451 h 6864730"/>
              <a:gd name="connsiteX45" fmla="*/ 2649648 w 5546031"/>
              <a:gd name="connsiteY45" fmla="*/ 2090015 h 6864730"/>
              <a:gd name="connsiteX46" fmla="*/ 2635894 w 5546031"/>
              <a:gd name="connsiteY46" fmla="*/ 2091401 h 6864730"/>
              <a:gd name="connsiteX47" fmla="*/ 2113836 w 5546031"/>
              <a:gd name="connsiteY47" fmla="*/ 1569343 h 6864730"/>
              <a:gd name="connsiteX48" fmla="*/ 2635894 w 5546031"/>
              <a:gd name="connsiteY48" fmla="*/ 1047285 h 6864730"/>
              <a:gd name="connsiteX49" fmla="*/ 2649648 w 5546031"/>
              <a:gd name="connsiteY49" fmla="*/ 1048672 h 6864730"/>
              <a:gd name="connsiteX50" fmla="*/ 2649648 w 5546031"/>
              <a:gd name="connsiteY50" fmla="*/ 1043268 h 6864730"/>
              <a:gd name="connsiteX51" fmla="*/ 2689899 w 5546031"/>
              <a:gd name="connsiteY51" fmla="*/ 1039210 h 6864730"/>
              <a:gd name="connsiteX52" fmla="*/ 2689899 w 5546031"/>
              <a:gd name="connsiteY52" fmla="*/ 1038672 h 6864730"/>
              <a:gd name="connsiteX53" fmla="*/ 2635893 w 5546031"/>
              <a:gd name="connsiteY53" fmla="*/ 1044116 h 6864730"/>
              <a:gd name="connsiteX54" fmla="*/ 2113835 w 5546031"/>
              <a:gd name="connsiteY54" fmla="*/ 522058 h 6864730"/>
              <a:gd name="connsiteX55" fmla="*/ 2635893 w 5546031"/>
              <a:gd name="connsiteY55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89899 w 5546031"/>
              <a:gd name="connsiteY51" fmla="*/ 1038672 h 6864730"/>
              <a:gd name="connsiteX52" fmla="*/ 2635893 w 5546031"/>
              <a:gd name="connsiteY52" fmla="*/ 1044116 h 6864730"/>
              <a:gd name="connsiteX53" fmla="*/ 2113835 w 5546031"/>
              <a:gd name="connsiteY53" fmla="*/ 522058 h 6864730"/>
              <a:gd name="connsiteX54" fmla="*/ 2635893 w 5546031"/>
              <a:gd name="connsiteY54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89899 w 5546031"/>
              <a:gd name="connsiteY50" fmla="*/ 1039210 h 6864730"/>
              <a:gd name="connsiteX51" fmla="*/ 2635893 w 5546031"/>
              <a:gd name="connsiteY51" fmla="*/ 1044116 h 6864730"/>
              <a:gd name="connsiteX52" fmla="*/ 2113835 w 5546031"/>
              <a:gd name="connsiteY52" fmla="*/ 522058 h 6864730"/>
              <a:gd name="connsiteX53" fmla="*/ 2635893 w 5546031"/>
              <a:gd name="connsiteY53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3846766 w 5546031"/>
              <a:gd name="connsiteY9" fmla="*/ 537 h 6864730"/>
              <a:gd name="connsiteX10" fmla="*/ 5545537 w 5546031"/>
              <a:gd name="connsiteY10" fmla="*/ 537 h 6864730"/>
              <a:gd name="connsiteX11" fmla="*/ 5545536 w 5546031"/>
              <a:gd name="connsiteY11" fmla="*/ 6860545 h 6864730"/>
              <a:gd name="connsiteX12" fmla="*/ 1067337 w 5546031"/>
              <a:gd name="connsiteY12" fmla="*/ 6863300 h 6864730"/>
              <a:gd name="connsiteX13" fmla="*/ 1069719 w 5546031"/>
              <a:gd name="connsiteY13" fmla="*/ 6318334 h 6864730"/>
              <a:gd name="connsiteX14" fmla="*/ 1069720 w 5546031"/>
              <a:gd name="connsiteY14" fmla="*/ 6318321 h 6864730"/>
              <a:gd name="connsiteX15" fmla="*/ 1069719 w 5546031"/>
              <a:gd name="connsiteY15" fmla="*/ 6318310 h 6864730"/>
              <a:gd name="connsiteX16" fmla="*/ 1061010 w 5546031"/>
              <a:gd name="connsiteY16" fmla="*/ 6219603 h 6864730"/>
              <a:gd name="connsiteX17" fmla="*/ 624433 w 5546031"/>
              <a:gd name="connsiteY17" fmla="*/ 5771972 h 6864730"/>
              <a:gd name="connsiteX18" fmla="*/ 426816 w 5546031"/>
              <a:gd name="connsiteY18" fmla="*/ 5735384 h 6864730"/>
              <a:gd name="connsiteX19" fmla="*/ 9971 w 5546031"/>
              <a:gd name="connsiteY19" fmla="*/ 5223932 h 6864730"/>
              <a:gd name="connsiteX20" fmla="*/ 426816 w 5546031"/>
              <a:gd name="connsiteY20" fmla="*/ 4712481 h 6864730"/>
              <a:gd name="connsiteX21" fmla="*/ 512040 w 5546031"/>
              <a:gd name="connsiteY21" fmla="*/ 4703889 h 6864730"/>
              <a:gd name="connsiteX22" fmla="*/ 512040 w 5546031"/>
              <a:gd name="connsiteY22" fmla="*/ 4703511 h 6864730"/>
              <a:gd name="connsiteX23" fmla="*/ 423086 w 5546031"/>
              <a:gd name="connsiteY23" fmla="*/ 4694544 h 6864730"/>
              <a:gd name="connsiteX24" fmla="*/ 0 w 5546031"/>
              <a:gd name="connsiteY24" fmla="*/ 4175435 h 6864730"/>
              <a:gd name="connsiteX25" fmla="*/ 529874 w 5546031"/>
              <a:gd name="connsiteY25" fmla="*/ 3645561 h 6864730"/>
              <a:gd name="connsiteX26" fmla="*/ 1048983 w 5546031"/>
              <a:gd name="connsiteY26" fmla="*/ 4068647 h 6864730"/>
              <a:gd name="connsiteX27" fmla="*/ 1057146 w 5546031"/>
              <a:gd name="connsiteY27" fmla="*/ 4149617 h 6864730"/>
              <a:gd name="connsiteX28" fmla="*/ 1069719 w 5546031"/>
              <a:gd name="connsiteY28" fmla="*/ 4620012 h 6864730"/>
              <a:gd name="connsiteX29" fmla="*/ 1095113 w 5546031"/>
              <a:gd name="connsiteY29" fmla="*/ 4538207 h 6864730"/>
              <a:gd name="connsiteX30" fmla="*/ 1576145 w 5546031"/>
              <a:gd name="connsiteY30" fmla="*/ 4219357 h 6864730"/>
              <a:gd name="connsiteX31" fmla="*/ 1609779 w 5546031"/>
              <a:gd name="connsiteY31" fmla="*/ 4222748 h 6864730"/>
              <a:gd name="connsiteX32" fmla="*/ 1609779 w 5546031"/>
              <a:gd name="connsiteY32" fmla="*/ 4205666 h 6864730"/>
              <a:gd name="connsiteX33" fmla="*/ 1577115 w 5546031"/>
              <a:gd name="connsiteY33" fmla="*/ 4208959 h 6864730"/>
              <a:gd name="connsiteX34" fmla="*/ 1055057 w 5546031"/>
              <a:gd name="connsiteY34" fmla="*/ 3686901 h 6864730"/>
              <a:gd name="connsiteX35" fmla="*/ 1577115 w 5546031"/>
              <a:gd name="connsiteY35" fmla="*/ 3164843 h 6864730"/>
              <a:gd name="connsiteX36" fmla="*/ 2088567 w 5546031"/>
              <a:gd name="connsiteY36" fmla="*/ 3581688 h 6864730"/>
              <a:gd name="connsiteX37" fmla="*/ 2098635 w 5546031"/>
              <a:gd name="connsiteY37" fmla="*/ 3681565 h 6864730"/>
              <a:gd name="connsiteX38" fmla="*/ 2113837 w 5546031"/>
              <a:gd name="connsiteY38" fmla="*/ 3681565 h 6864730"/>
              <a:gd name="connsiteX39" fmla="*/ 2113837 w 5546031"/>
              <a:gd name="connsiteY39" fmla="*/ 2637449 h 6864730"/>
              <a:gd name="connsiteX40" fmla="*/ 2114775 w 5546031"/>
              <a:gd name="connsiteY40" fmla="*/ 2637449 h 6864730"/>
              <a:gd name="connsiteX41" fmla="*/ 2113835 w 5546031"/>
              <a:gd name="connsiteY41" fmla="*/ 2628122 h 6864730"/>
              <a:gd name="connsiteX42" fmla="*/ 2635893 w 5546031"/>
              <a:gd name="connsiteY42" fmla="*/ 2106064 h 6864730"/>
              <a:gd name="connsiteX43" fmla="*/ 2649648 w 5546031"/>
              <a:gd name="connsiteY43" fmla="*/ 2107451 h 6864730"/>
              <a:gd name="connsiteX44" fmla="*/ 2649648 w 5546031"/>
              <a:gd name="connsiteY44" fmla="*/ 2090015 h 6864730"/>
              <a:gd name="connsiteX45" fmla="*/ 2635894 w 5546031"/>
              <a:gd name="connsiteY45" fmla="*/ 2091401 h 6864730"/>
              <a:gd name="connsiteX46" fmla="*/ 2113836 w 5546031"/>
              <a:gd name="connsiteY46" fmla="*/ 1569343 h 6864730"/>
              <a:gd name="connsiteX47" fmla="*/ 2635894 w 5546031"/>
              <a:gd name="connsiteY47" fmla="*/ 1047285 h 6864730"/>
              <a:gd name="connsiteX48" fmla="*/ 2649648 w 5546031"/>
              <a:gd name="connsiteY48" fmla="*/ 1048672 h 6864730"/>
              <a:gd name="connsiteX49" fmla="*/ 2649648 w 5546031"/>
              <a:gd name="connsiteY49" fmla="*/ 1043268 h 6864730"/>
              <a:gd name="connsiteX50" fmla="*/ 2635893 w 5546031"/>
              <a:gd name="connsiteY50" fmla="*/ 1044116 h 6864730"/>
              <a:gd name="connsiteX51" fmla="*/ 2113835 w 5546031"/>
              <a:gd name="connsiteY51" fmla="*/ 522058 h 6864730"/>
              <a:gd name="connsiteX52" fmla="*/ 2635893 w 5546031"/>
              <a:gd name="connsiteY52" fmla="*/ 0 h 6864730"/>
              <a:gd name="connsiteX0" fmla="*/ 1577115 w 5546031"/>
              <a:gd name="connsiteY0" fmla="*/ 2106064 h 6864730"/>
              <a:gd name="connsiteX1" fmla="*/ 2099173 w 5546031"/>
              <a:gd name="connsiteY1" fmla="*/ 2628122 h 6864730"/>
              <a:gd name="connsiteX2" fmla="*/ 1577115 w 5546031"/>
              <a:gd name="connsiteY2" fmla="*/ 3150180 h 6864730"/>
              <a:gd name="connsiteX3" fmla="*/ 1055057 w 5546031"/>
              <a:gd name="connsiteY3" fmla="*/ 2628122 h 6864730"/>
              <a:gd name="connsiteX4" fmla="*/ 1577115 w 5546031"/>
              <a:gd name="connsiteY4" fmla="*/ 2106064 h 6864730"/>
              <a:gd name="connsiteX5" fmla="*/ 2635893 w 5546031"/>
              <a:gd name="connsiteY5" fmla="*/ 0 h 6864730"/>
              <a:gd name="connsiteX6" fmla="*/ 2649648 w 5546031"/>
              <a:gd name="connsiteY6" fmla="*/ 1387 h 6864730"/>
              <a:gd name="connsiteX7" fmla="*/ 2649648 w 5546031"/>
              <a:gd name="connsiteY7" fmla="*/ 537 h 6864730"/>
              <a:gd name="connsiteX8" fmla="*/ 3846766 w 5546031"/>
              <a:gd name="connsiteY8" fmla="*/ 0 h 6864730"/>
              <a:gd name="connsiteX9" fmla="*/ 5545537 w 5546031"/>
              <a:gd name="connsiteY9" fmla="*/ 537 h 6864730"/>
              <a:gd name="connsiteX10" fmla="*/ 5545536 w 5546031"/>
              <a:gd name="connsiteY10" fmla="*/ 6860545 h 6864730"/>
              <a:gd name="connsiteX11" fmla="*/ 1067337 w 5546031"/>
              <a:gd name="connsiteY11" fmla="*/ 6863300 h 6864730"/>
              <a:gd name="connsiteX12" fmla="*/ 1069719 w 5546031"/>
              <a:gd name="connsiteY12" fmla="*/ 6318334 h 6864730"/>
              <a:gd name="connsiteX13" fmla="*/ 1069720 w 5546031"/>
              <a:gd name="connsiteY13" fmla="*/ 6318321 h 6864730"/>
              <a:gd name="connsiteX14" fmla="*/ 1069719 w 5546031"/>
              <a:gd name="connsiteY14" fmla="*/ 6318310 h 6864730"/>
              <a:gd name="connsiteX15" fmla="*/ 1061010 w 5546031"/>
              <a:gd name="connsiteY15" fmla="*/ 6219603 h 6864730"/>
              <a:gd name="connsiteX16" fmla="*/ 624433 w 5546031"/>
              <a:gd name="connsiteY16" fmla="*/ 5771972 h 6864730"/>
              <a:gd name="connsiteX17" fmla="*/ 426816 w 5546031"/>
              <a:gd name="connsiteY17" fmla="*/ 5735384 h 6864730"/>
              <a:gd name="connsiteX18" fmla="*/ 9971 w 5546031"/>
              <a:gd name="connsiteY18" fmla="*/ 5223932 h 6864730"/>
              <a:gd name="connsiteX19" fmla="*/ 426816 w 5546031"/>
              <a:gd name="connsiteY19" fmla="*/ 4712481 h 6864730"/>
              <a:gd name="connsiteX20" fmla="*/ 512040 w 5546031"/>
              <a:gd name="connsiteY20" fmla="*/ 4703889 h 6864730"/>
              <a:gd name="connsiteX21" fmla="*/ 512040 w 5546031"/>
              <a:gd name="connsiteY21" fmla="*/ 4703511 h 6864730"/>
              <a:gd name="connsiteX22" fmla="*/ 423086 w 5546031"/>
              <a:gd name="connsiteY22" fmla="*/ 4694544 h 6864730"/>
              <a:gd name="connsiteX23" fmla="*/ 0 w 5546031"/>
              <a:gd name="connsiteY23" fmla="*/ 4175435 h 6864730"/>
              <a:gd name="connsiteX24" fmla="*/ 529874 w 5546031"/>
              <a:gd name="connsiteY24" fmla="*/ 3645561 h 6864730"/>
              <a:gd name="connsiteX25" fmla="*/ 1048983 w 5546031"/>
              <a:gd name="connsiteY25" fmla="*/ 4068647 h 6864730"/>
              <a:gd name="connsiteX26" fmla="*/ 1057146 w 5546031"/>
              <a:gd name="connsiteY26" fmla="*/ 4149617 h 6864730"/>
              <a:gd name="connsiteX27" fmla="*/ 1069719 w 5546031"/>
              <a:gd name="connsiteY27" fmla="*/ 4620012 h 6864730"/>
              <a:gd name="connsiteX28" fmla="*/ 1095113 w 5546031"/>
              <a:gd name="connsiteY28" fmla="*/ 4538207 h 6864730"/>
              <a:gd name="connsiteX29" fmla="*/ 1576145 w 5546031"/>
              <a:gd name="connsiteY29" fmla="*/ 4219357 h 6864730"/>
              <a:gd name="connsiteX30" fmla="*/ 1609779 w 5546031"/>
              <a:gd name="connsiteY30" fmla="*/ 4222748 h 6864730"/>
              <a:gd name="connsiteX31" fmla="*/ 1609779 w 5546031"/>
              <a:gd name="connsiteY31" fmla="*/ 4205666 h 6864730"/>
              <a:gd name="connsiteX32" fmla="*/ 1577115 w 5546031"/>
              <a:gd name="connsiteY32" fmla="*/ 4208959 h 6864730"/>
              <a:gd name="connsiteX33" fmla="*/ 1055057 w 5546031"/>
              <a:gd name="connsiteY33" fmla="*/ 3686901 h 6864730"/>
              <a:gd name="connsiteX34" fmla="*/ 1577115 w 5546031"/>
              <a:gd name="connsiteY34" fmla="*/ 3164843 h 6864730"/>
              <a:gd name="connsiteX35" fmla="*/ 2088567 w 5546031"/>
              <a:gd name="connsiteY35" fmla="*/ 3581688 h 6864730"/>
              <a:gd name="connsiteX36" fmla="*/ 2098635 w 5546031"/>
              <a:gd name="connsiteY36" fmla="*/ 3681565 h 6864730"/>
              <a:gd name="connsiteX37" fmla="*/ 2113837 w 5546031"/>
              <a:gd name="connsiteY37" fmla="*/ 3681565 h 6864730"/>
              <a:gd name="connsiteX38" fmla="*/ 2113837 w 5546031"/>
              <a:gd name="connsiteY38" fmla="*/ 2637449 h 6864730"/>
              <a:gd name="connsiteX39" fmla="*/ 2114775 w 5546031"/>
              <a:gd name="connsiteY39" fmla="*/ 2637449 h 6864730"/>
              <a:gd name="connsiteX40" fmla="*/ 2113835 w 5546031"/>
              <a:gd name="connsiteY40" fmla="*/ 2628122 h 6864730"/>
              <a:gd name="connsiteX41" fmla="*/ 2635893 w 5546031"/>
              <a:gd name="connsiteY41" fmla="*/ 2106064 h 6864730"/>
              <a:gd name="connsiteX42" fmla="*/ 2649648 w 5546031"/>
              <a:gd name="connsiteY42" fmla="*/ 2107451 h 6864730"/>
              <a:gd name="connsiteX43" fmla="*/ 2649648 w 5546031"/>
              <a:gd name="connsiteY43" fmla="*/ 2090015 h 6864730"/>
              <a:gd name="connsiteX44" fmla="*/ 2635894 w 5546031"/>
              <a:gd name="connsiteY44" fmla="*/ 2091401 h 6864730"/>
              <a:gd name="connsiteX45" fmla="*/ 2113836 w 5546031"/>
              <a:gd name="connsiteY45" fmla="*/ 1569343 h 6864730"/>
              <a:gd name="connsiteX46" fmla="*/ 2635894 w 5546031"/>
              <a:gd name="connsiteY46" fmla="*/ 1047285 h 6864730"/>
              <a:gd name="connsiteX47" fmla="*/ 2649648 w 5546031"/>
              <a:gd name="connsiteY47" fmla="*/ 1048672 h 6864730"/>
              <a:gd name="connsiteX48" fmla="*/ 2649648 w 5546031"/>
              <a:gd name="connsiteY48" fmla="*/ 1043268 h 6864730"/>
              <a:gd name="connsiteX49" fmla="*/ 2635893 w 5546031"/>
              <a:gd name="connsiteY49" fmla="*/ 1044116 h 6864730"/>
              <a:gd name="connsiteX50" fmla="*/ 2113835 w 5546031"/>
              <a:gd name="connsiteY50" fmla="*/ 522058 h 6864730"/>
              <a:gd name="connsiteX51" fmla="*/ 2635893 w 5546031"/>
              <a:gd name="connsiteY51" fmla="*/ 0 h 6864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546031" h="6864730">
                <a:moveTo>
                  <a:pt x="1577115" y="2106064"/>
                </a:moveTo>
                <a:cubicBezTo>
                  <a:pt x="1865440" y="2106064"/>
                  <a:pt x="2099173" y="2339797"/>
                  <a:pt x="2099173" y="2628122"/>
                </a:cubicBezTo>
                <a:cubicBezTo>
                  <a:pt x="2099173" y="2916447"/>
                  <a:pt x="1865440" y="3150180"/>
                  <a:pt x="1577115" y="3150180"/>
                </a:cubicBezTo>
                <a:cubicBezTo>
                  <a:pt x="1288790" y="3150180"/>
                  <a:pt x="1055057" y="2916447"/>
                  <a:pt x="1055057" y="2628122"/>
                </a:cubicBezTo>
                <a:cubicBezTo>
                  <a:pt x="1055057" y="2339797"/>
                  <a:pt x="1288790" y="2106064"/>
                  <a:pt x="1577115" y="2106064"/>
                </a:cubicBezTo>
                <a:close/>
                <a:moveTo>
                  <a:pt x="2635893" y="0"/>
                </a:moveTo>
                <a:lnTo>
                  <a:pt x="2649648" y="1387"/>
                </a:lnTo>
                <a:lnTo>
                  <a:pt x="2649648" y="537"/>
                </a:lnTo>
                <a:lnTo>
                  <a:pt x="3846766" y="0"/>
                </a:lnTo>
                <a:lnTo>
                  <a:pt x="5545537" y="537"/>
                </a:lnTo>
                <a:cubicBezTo>
                  <a:pt x="5543820" y="2314681"/>
                  <a:pt x="5547253" y="4546401"/>
                  <a:pt x="5545536" y="6860545"/>
                </a:cubicBezTo>
                <a:cubicBezTo>
                  <a:pt x="5545847" y="6861075"/>
                  <a:pt x="2560070" y="6867533"/>
                  <a:pt x="1067337" y="6863300"/>
                </a:cubicBezTo>
                <a:cubicBezTo>
                  <a:pt x="1068990" y="6701392"/>
                  <a:pt x="1068066" y="6480242"/>
                  <a:pt x="1069719" y="6318334"/>
                </a:cubicBezTo>
                <a:cubicBezTo>
                  <a:pt x="1069719" y="6318330"/>
                  <a:pt x="1069720" y="6318325"/>
                  <a:pt x="1069720" y="6318321"/>
                </a:cubicBezTo>
                <a:cubicBezTo>
                  <a:pt x="1069720" y="6318317"/>
                  <a:pt x="1069719" y="6318314"/>
                  <a:pt x="1069719" y="6318310"/>
                </a:cubicBezTo>
                <a:lnTo>
                  <a:pt x="1061010" y="6219603"/>
                </a:lnTo>
                <a:cubicBezTo>
                  <a:pt x="1020946" y="5995312"/>
                  <a:pt x="846793" y="5817474"/>
                  <a:pt x="624433" y="5771972"/>
                </a:cubicBezTo>
                <a:lnTo>
                  <a:pt x="426816" y="5735384"/>
                </a:lnTo>
                <a:cubicBezTo>
                  <a:pt x="188923" y="5686704"/>
                  <a:pt x="9971" y="5476217"/>
                  <a:pt x="9971" y="5223932"/>
                </a:cubicBezTo>
                <a:cubicBezTo>
                  <a:pt x="9971" y="4971648"/>
                  <a:pt x="188923" y="4761160"/>
                  <a:pt x="426816" y="4712481"/>
                </a:cubicBezTo>
                <a:lnTo>
                  <a:pt x="512040" y="4703889"/>
                </a:lnTo>
                <a:lnTo>
                  <a:pt x="512040" y="4703511"/>
                </a:lnTo>
                <a:lnTo>
                  <a:pt x="423086" y="4694544"/>
                </a:lnTo>
                <a:cubicBezTo>
                  <a:pt x="181632" y="4645135"/>
                  <a:pt x="0" y="4431496"/>
                  <a:pt x="0" y="4175435"/>
                </a:cubicBezTo>
                <a:cubicBezTo>
                  <a:pt x="0" y="3882794"/>
                  <a:pt x="237233" y="3645561"/>
                  <a:pt x="529874" y="3645561"/>
                </a:cubicBezTo>
                <a:cubicBezTo>
                  <a:pt x="785935" y="3645561"/>
                  <a:pt x="999574" y="3827193"/>
                  <a:pt x="1048983" y="4068647"/>
                </a:cubicBezTo>
                <a:lnTo>
                  <a:pt x="1057146" y="4149617"/>
                </a:lnTo>
                <a:cubicBezTo>
                  <a:pt x="1060602" y="4241511"/>
                  <a:pt x="1063391" y="4555247"/>
                  <a:pt x="1069719" y="4620012"/>
                </a:cubicBezTo>
                <a:lnTo>
                  <a:pt x="1095113" y="4538207"/>
                </a:lnTo>
                <a:cubicBezTo>
                  <a:pt x="1174366" y="4350832"/>
                  <a:pt x="1359902" y="4219357"/>
                  <a:pt x="1576145" y="4219357"/>
                </a:cubicBezTo>
                <a:lnTo>
                  <a:pt x="1609779" y="4222748"/>
                </a:lnTo>
                <a:lnTo>
                  <a:pt x="1609779" y="4205666"/>
                </a:lnTo>
                <a:lnTo>
                  <a:pt x="1577115" y="4208959"/>
                </a:lnTo>
                <a:cubicBezTo>
                  <a:pt x="1288790" y="4208959"/>
                  <a:pt x="1055057" y="3975226"/>
                  <a:pt x="1055057" y="3686901"/>
                </a:cubicBezTo>
                <a:cubicBezTo>
                  <a:pt x="1055057" y="3398576"/>
                  <a:pt x="1288790" y="3164843"/>
                  <a:pt x="1577115" y="3164843"/>
                </a:cubicBezTo>
                <a:cubicBezTo>
                  <a:pt x="1829399" y="3164843"/>
                  <a:pt x="2039887" y="3343795"/>
                  <a:pt x="2088567" y="3581688"/>
                </a:cubicBezTo>
                <a:lnTo>
                  <a:pt x="2098635" y="3681565"/>
                </a:lnTo>
                <a:lnTo>
                  <a:pt x="2113837" y="3681565"/>
                </a:lnTo>
                <a:lnTo>
                  <a:pt x="2113837" y="2637449"/>
                </a:lnTo>
                <a:lnTo>
                  <a:pt x="2114775" y="2637449"/>
                </a:lnTo>
                <a:cubicBezTo>
                  <a:pt x="2114462" y="2634340"/>
                  <a:pt x="2114148" y="2631231"/>
                  <a:pt x="2113835" y="2628122"/>
                </a:cubicBezTo>
                <a:cubicBezTo>
                  <a:pt x="2113835" y="2339797"/>
                  <a:pt x="2347568" y="2106064"/>
                  <a:pt x="2635893" y="2106064"/>
                </a:cubicBezTo>
                <a:lnTo>
                  <a:pt x="2649648" y="2107451"/>
                </a:lnTo>
                <a:lnTo>
                  <a:pt x="2649648" y="2090015"/>
                </a:lnTo>
                <a:lnTo>
                  <a:pt x="2635894" y="2091401"/>
                </a:lnTo>
                <a:cubicBezTo>
                  <a:pt x="2347569" y="2091401"/>
                  <a:pt x="2113836" y="1857668"/>
                  <a:pt x="2113836" y="1569343"/>
                </a:cubicBezTo>
                <a:cubicBezTo>
                  <a:pt x="2113836" y="1281018"/>
                  <a:pt x="2347569" y="1047285"/>
                  <a:pt x="2635894" y="1047285"/>
                </a:cubicBezTo>
                <a:lnTo>
                  <a:pt x="2649648" y="1048672"/>
                </a:lnTo>
                <a:lnTo>
                  <a:pt x="2649648" y="1043268"/>
                </a:lnTo>
                <a:lnTo>
                  <a:pt x="2635893" y="1044116"/>
                </a:lnTo>
                <a:cubicBezTo>
                  <a:pt x="2347568" y="1044116"/>
                  <a:pt x="2113835" y="810383"/>
                  <a:pt x="2113835" y="522058"/>
                </a:cubicBezTo>
                <a:cubicBezTo>
                  <a:pt x="2113835" y="233733"/>
                  <a:pt x="2347568" y="0"/>
                  <a:pt x="263589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463381546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484188" y="333375"/>
            <a:ext cx="11228387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/>
              <a:t>Muokkaa perustyyliä </a:t>
            </a:r>
            <a:br>
              <a:rPr lang="fi-FI"/>
            </a:br>
            <a:r>
              <a:rPr lang="fi-FI"/>
              <a:t>napsauttamalla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84188" y="1628775"/>
            <a:ext cx="11228388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4" name="Päivämäärän paikkamerkki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5592" y="6237288"/>
            <a:ext cx="1102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6D0B9357-9661-48F7-A1F2-C31C785BF849}" type="datetime1">
              <a:rPr lang="fi-FI" smtClean="0"/>
              <a:pPr/>
              <a:t>11.10.2023</a:t>
            </a:fld>
            <a:endParaRPr lang="fi-FI"/>
          </a:p>
        </p:txBody>
      </p:sp>
      <p:sp>
        <p:nvSpPr>
          <p:cNvPr id="5" name="Alatunnisteen paikkamerkki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88774" y="6238368"/>
            <a:ext cx="5364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i-FI"/>
              <a:t>Etunimi Sukunimi</a:t>
            </a:r>
          </a:p>
        </p:txBody>
      </p:sp>
      <p:sp>
        <p:nvSpPr>
          <p:cNvPr id="6" name="Dian numeron paikkamerkki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4147" y="6237288"/>
            <a:ext cx="104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fld id="{74579C77-9DC3-4139-BDA4-AA8FE7814479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2" name="Kuva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474799" y="6237288"/>
            <a:ext cx="1440000" cy="4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470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Inter SemiBold" panose="02000503000000020004" pitchFamily="2" charset="0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1pPr>
      <a:lvl2pPr marL="36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3pPr>
      <a:lvl4pPr marL="72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4pPr>
      <a:lvl5pPr marL="90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Arial" panose="020B0604020202020204" pitchFamily="34" charset="0"/>
        <a:buChar char="•"/>
        <a:defRPr lang="fi-FI" sz="1600" kern="1200" dirty="0" smtClean="0">
          <a:solidFill>
            <a:schemeClr val="tx1"/>
          </a:solidFill>
          <a:latin typeface="+mn-lt"/>
          <a:ea typeface="Inter" panose="02000503000000020004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5" pos="3749">
          <p15:clr>
            <a:srgbClr val="F26B43"/>
          </p15:clr>
        </p15:guide>
        <p15:guide id="16" orient="horz" pos="2160">
          <p15:clr>
            <a:srgbClr val="F26B43"/>
          </p15:clr>
        </p15:guide>
        <p15:guide id="17" pos="7378">
          <p15:clr>
            <a:srgbClr val="F26B43"/>
          </p15:clr>
        </p15:guide>
        <p15:guide id="19" orient="horz" pos="210">
          <p15:clr>
            <a:srgbClr val="F26B43"/>
          </p15:clr>
        </p15:guide>
        <p15:guide id="20" orient="horz" pos="3929">
          <p15:clr>
            <a:srgbClr val="F26B43"/>
          </p15:clr>
        </p15:guide>
        <p15:guide id="21" orient="horz" pos="799">
          <p15:clr>
            <a:srgbClr val="F26B43"/>
          </p15:clr>
        </p15:guide>
        <p15:guide id="22" orient="horz" pos="1026">
          <p15:clr>
            <a:srgbClr val="F26B43"/>
          </p15:clr>
        </p15:guide>
        <p15:guide id="23" pos="1436">
          <p15:clr>
            <a:srgbClr val="F26B43"/>
          </p15:clr>
        </p15:guide>
        <p15:guide id="24" orient="horz" pos="3748">
          <p15:clr>
            <a:srgbClr val="F26B43"/>
          </p15:clr>
        </p15:guide>
        <p15:guide id="25" orient="horz" pos="4156">
          <p15:clr>
            <a:srgbClr val="F26B43"/>
          </p15:clr>
        </p15:guide>
        <p15:guide id="26" pos="2638">
          <p15:clr>
            <a:srgbClr val="F26B43"/>
          </p15:clr>
        </p15:guide>
        <p15:guide id="27" pos="5042">
          <p15:clr>
            <a:srgbClr val="F26B43"/>
          </p15:clr>
        </p15:guide>
        <p15:guide id="28" pos="6244">
          <p15:clr>
            <a:srgbClr val="F26B43"/>
          </p15:clr>
        </p15:guide>
        <p15:guide id="29" pos="3931">
          <p15:clr>
            <a:srgbClr val="F26B43"/>
          </p15:clr>
        </p15:guide>
        <p15:guide id="30" pos="302">
          <p15:clr>
            <a:srgbClr val="F26B43"/>
          </p15:clr>
        </p15:guide>
        <p15:guide id="31" pos="3840">
          <p15:clr>
            <a:srgbClr val="F26B43"/>
          </p15:clr>
        </p15:guide>
        <p15:guide id="32" pos="665">
          <p15:clr>
            <a:srgbClr val="F26B43"/>
          </p15:clr>
        </p15:guide>
        <p15:guide id="33" orient="horz" pos="20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0755AA20-DCD7-9186-E36B-A767ACA7759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/>
              <a:t>Tuukka Salkoaho</a:t>
            </a:r>
            <a:br>
              <a:rPr lang="fi-FI" dirty="0"/>
            </a:br>
            <a:r>
              <a:rPr lang="fi-FI" dirty="0"/>
              <a:t>Integraatiojohtaja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2F7B94C1-C682-D69D-71E2-D2FEBBB90E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/>
              <a:t>Ajankohtaista Pirkanmaan hyvinvointialueelta</a:t>
            </a:r>
          </a:p>
        </p:txBody>
      </p:sp>
    </p:spTree>
    <p:extLst>
      <p:ext uri="{BB962C8B-B14F-4D97-AF65-F5344CB8AC3E}">
        <p14:creationId xmlns:p14="http://schemas.microsoft.com/office/powerpoint/2010/main" val="42498152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isällön paikkamerkki 4">
            <a:extLst>
              <a:ext uri="{FF2B5EF4-FFF2-40B4-BE49-F238E27FC236}">
                <a16:creationId xmlns:a16="http://schemas.microsoft.com/office/drawing/2014/main" id="{CE8D5186-3D6C-56BF-1328-62ACE5BDCDE8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287688" y="152135"/>
            <a:ext cx="7416824" cy="6385407"/>
          </a:xfrm>
        </p:spPr>
      </p:pic>
      <p:sp>
        <p:nvSpPr>
          <p:cNvPr id="6" name="Tekstiruutu 5">
            <a:extLst>
              <a:ext uri="{FF2B5EF4-FFF2-40B4-BE49-F238E27FC236}">
                <a16:creationId xmlns:a16="http://schemas.microsoft.com/office/drawing/2014/main" id="{7DAE6606-AC85-5F4A-C3ED-97617EFBAF3F}"/>
              </a:ext>
            </a:extLst>
          </p:cNvPr>
          <p:cNvSpPr txBox="1"/>
          <p:nvPr/>
        </p:nvSpPr>
        <p:spPr>
          <a:xfrm>
            <a:off x="407368" y="476672"/>
            <a:ext cx="208823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srgbClr val="72146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imerkki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srgbClr val="72146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hdotuksia kunnan, järjestöjen ja muiden sidosryhmien toimenpiteiksi ja toteutumisen arviointimenettelyiksi miten tukea omin toimenpitein alueellisia hyvinvoinnin ja terveyden edistämisen tavoitteita</a:t>
            </a:r>
          </a:p>
        </p:txBody>
      </p:sp>
    </p:spTree>
    <p:extLst>
      <p:ext uri="{BB962C8B-B14F-4D97-AF65-F5344CB8AC3E}">
        <p14:creationId xmlns:p14="http://schemas.microsoft.com/office/powerpoint/2010/main" val="15365701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otsikko 2">
            <a:extLst>
              <a:ext uri="{FF2B5EF4-FFF2-40B4-BE49-F238E27FC236}">
                <a16:creationId xmlns:a16="http://schemas.microsoft.com/office/drawing/2014/main" id="{903AF556-C4B0-2581-C87A-17570C5B9B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2524" y="3827129"/>
            <a:ext cx="5184775" cy="2087810"/>
          </a:xfrm>
        </p:spPr>
        <p:txBody>
          <a:bodyPr/>
          <a:lstStyle/>
          <a:p>
            <a:endParaRPr lang="fi-FI" b="1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66B24C4-6BF1-4C67-B349-F2112CBE09C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055687" y="620688"/>
            <a:ext cx="5616377" cy="2952328"/>
          </a:xfrm>
        </p:spPr>
        <p:txBody>
          <a:bodyPr/>
          <a:lstStyle/>
          <a:p>
            <a:r>
              <a:rPr lang="fi-FI" sz="4800" dirty="0"/>
              <a:t>Pirkanmaan hyvinvointialueen järjestöavustukset ja järjestöyhteistyö</a:t>
            </a:r>
            <a:br>
              <a:rPr lang="fi-FI" dirty="0"/>
            </a:b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54603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n paikkamerkki 5" descr="Kuva, joka sisältää kohteen henkilö, nainen, seisominen, poseeraaminen&#10;&#10;Kuvaus luotu automaattisesti">
            <a:extLst>
              <a:ext uri="{FF2B5EF4-FFF2-40B4-BE49-F238E27FC236}">
                <a16:creationId xmlns:a16="http://schemas.microsoft.com/office/drawing/2014/main" id="{4E5E117D-F041-4FA7-9F6D-D554BF3C980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>
          <a:xfrm>
            <a:off x="0" y="1714501"/>
            <a:ext cx="5143500" cy="5143500"/>
          </a:xfrm>
          <a:noFill/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22D2FC8A-EF82-7892-CC42-FFD6EFBDC88F}"/>
              </a:ext>
            </a:extLst>
          </p:cNvPr>
          <p:cNvSpPr txBox="1"/>
          <p:nvPr/>
        </p:nvSpPr>
        <p:spPr>
          <a:xfrm>
            <a:off x="5519936" y="1983476"/>
            <a:ext cx="5976664" cy="390183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400" dirty="0"/>
              <a:t>Kumppanuusavustukse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400" dirty="0"/>
              <a:t>Yleisavustukse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400" dirty="0"/>
              <a:t>Kohdeavustukset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400" dirty="0"/>
              <a:t>Järjestöavustuksissa kehitteillä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400" dirty="0"/>
              <a:t>Muuta ajankohtaista Pirhan järjestöyhteistyöstä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i-FI" sz="2400" dirty="0"/>
              <a:t>Keskustelua </a:t>
            </a:r>
          </a:p>
        </p:txBody>
      </p:sp>
      <p:sp>
        <p:nvSpPr>
          <p:cNvPr id="8" name="Otsikko 1">
            <a:extLst>
              <a:ext uri="{FF2B5EF4-FFF2-40B4-BE49-F238E27FC236}">
                <a16:creationId xmlns:a16="http://schemas.microsoft.com/office/drawing/2014/main" id="{FAEB761E-F4C8-F30A-D089-C58F18C751C7}"/>
              </a:ext>
            </a:extLst>
          </p:cNvPr>
          <p:cNvSpPr txBox="1">
            <a:spLocks/>
          </p:cNvSpPr>
          <p:nvPr/>
        </p:nvSpPr>
        <p:spPr>
          <a:xfrm>
            <a:off x="5519936" y="1012358"/>
            <a:ext cx="6084651" cy="9239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Inter SemiBold" panose="02000503000000020004" pitchFamily="2" charset="0"/>
                <a:cs typeface="+mj-cs"/>
              </a:defRPr>
            </a:lvl1pPr>
          </a:lstStyle>
          <a:p>
            <a:r>
              <a:rPr lang="fi-FI" dirty="0"/>
              <a:t>Aiheet</a:t>
            </a:r>
          </a:p>
        </p:txBody>
      </p:sp>
    </p:spTree>
    <p:extLst>
      <p:ext uri="{BB962C8B-B14F-4D97-AF65-F5344CB8AC3E}">
        <p14:creationId xmlns:p14="http://schemas.microsoft.com/office/powerpoint/2010/main" val="484798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A60FFA4-F47E-1682-D833-B5C4C77E7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278" y="446062"/>
            <a:ext cx="11228387" cy="923925"/>
          </a:xfrm>
        </p:spPr>
        <p:txBody>
          <a:bodyPr/>
          <a:lstStyle/>
          <a:p>
            <a:r>
              <a:rPr lang="fi-FI" dirty="0"/>
              <a:t>Kumppanuusavustukset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2765837A-2BD7-D588-3313-8F25E4793B5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1278" y="1628800"/>
            <a:ext cx="11208915" cy="4393183"/>
          </a:xfrm>
        </p:spPr>
        <p:txBody>
          <a:bodyPr/>
          <a:lstStyle/>
          <a:p>
            <a:r>
              <a:rPr lang="fi-FI" sz="2200" dirty="0"/>
              <a:t>Kohdennettu kumppanuusavustushaku järjestettiin syksyn 2022 kuluessa, päätös tammikuussa 2023</a:t>
            </a:r>
          </a:p>
          <a:p>
            <a:r>
              <a:rPr lang="fi-FI" sz="2200" dirty="0"/>
              <a:t>Kumppanuusavustuksia jaettiin 14 yhteisölle yhteensä 1 267 080 euroa</a:t>
            </a:r>
          </a:p>
          <a:p>
            <a:r>
              <a:rPr lang="fi-FI" sz="2200" dirty="0"/>
              <a:t>Kumppanuusavustuksissa on kyse toiminnasta, jonka perusrahoitus tulee Sosiaali- ja terveysjärjestöjen avustuskeskus STEAlta tai ESR hankerahoituksena ELY-keskukselta. </a:t>
            </a:r>
          </a:p>
          <a:p>
            <a:r>
              <a:rPr lang="fi-FI" sz="2200" dirty="0"/>
              <a:t>Pirkanmaan hyvinvointialueen myöntämä avustus toimii toiminnan täydentävänä julkisena rahoituksena. Kumppanuusavustuksista neuvotellaan järjestöjen kanssa aina erikseen ja niissä huomioidaan toiminnan jatkuvuus myös hankeajan jälkeen.</a:t>
            </a:r>
          </a:p>
          <a:p>
            <a:r>
              <a:rPr lang="fi-FI" sz="2200" dirty="0"/>
              <a:t>Seuraava haku toteutetaan 1.11.-30.11.2023, päätös tammikuussa 2024</a:t>
            </a:r>
          </a:p>
        </p:txBody>
      </p:sp>
    </p:spTree>
    <p:extLst>
      <p:ext uri="{BB962C8B-B14F-4D97-AF65-F5344CB8AC3E}">
        <p14:creationId xmlns:p14="http://schemas.microsoft.com/office/powerpoint/2010/main" val="12914629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AF565C6-7A59-6CD5-FC36-AF1A8B1BE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Yleisavustukset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7F5B2CD-7134-0C91-3306-B6734EC92AE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257300"/>
            <a:ext cx="11233151" cy="4764683"/>
          </a:xfrm>
        </p:spPr>
        <p:txBody>
          <a:bodyPr/>
          <a:lstStyle/>
          <a:p>
            <a:r>
              <a:rPr lang="fi-FI" sz="2200" dirty="0"/>
              <a:t>Pirhan ensimmäinen yleisavustushaku pidettiin 23.1.-13.2.2023</a:t>
            </a:r>
          </a:p>
          <a:p>
            <a:r>
              <a:rPr lang="fi-FI" sz="2200" dirty="0"/>
              <a:t>Yleisavustuksia jaettiin 82 yhteisölle yhteensä 444 250 euroa</a:t>
            </a:r>
          </a:p>
          <a:p>
            <a:r>
              <a:rPr lang="fi-FI" sz="2200" dirty="0"/>
              <a:t>Hyvinvointialueen yleisavustuksilla tuetaan sote-järjestöjen toimintaa, joka täyttää seuraavat kriteerit:</a:t>
            </a:r>
          </a:p>
          <a:p>
            <a:pPr lvl="1"/>
            <a:r>
              <a:rPr lang="fi-FI" sz="1600" dirty="0"/>
              <a:t>Palvelee alueellisesti tai ylikunnallista hyvinvointialueen asukkaita palvelutarpeiden mukaisesti </a:t>
            </a:r>
          </a:p>
          <a:p>
            <a:pPr lvl="1"/>
            <a:r>
              <a:rPr lang="fi-FI" sz="1600" dirty="0"/>
              <a:t>Vastaa hyvinvointialueen asukkaiden hyvinvoinnin vajeisiin</a:t>
            </a:r>
          </a:p>
          <a:p>
            <a:pPr lvl="1"/>
            <a:r>
              <a:rPr lang="fi-FI" sz="1600" dirty="0"/>
              <a:t>Toteuttaa hyvinvointialueen hyvinvointisuunnitelman strategisia painopisteitä </a:t>
            </a:r>
          </a:p>
          <a:p>
            <a:pPr lvl="1"/>
            <a:r>
              <a:rPr lang="fi-FI" sz="1600" dirty="0"/>
              <a:t>Täydentää hyvinvointialueen järjestämisvastuulla olevia sosiaali- ja terveyspalveluja</a:t>
            </a:r>
          </a:p>
          <a:p>
            <a:r>
              <a:rPr lang="fi-FI" sz="2200" dirty="0"/>
              <a:t>Seuraava haku toteutetaan 15.11.-14.12.2023, päätös helmikuussa 2024</a:t>
            </a:r>
          </a:p>
          <a:p>
            <a:pPr lvl="1"/>
            <a:r>
              <a:rPr lang="fi-FI" sz="1600" dirty="0"/>
              <a:t>Pirhan yleisavustusta 2023 saaville järjestöille ja kuntien kollegoille tehtiin lyhyt kysely, jonka tulokset puolsivat haun aikaistamista (järjestöjen vastauksia 60 joista 52 kannatti, kunnista 20 vastausta joista 10 kannatti)</a:t>
            </a:r>
          </a:p>
          <a:p>
            <a:pPr lvl="1"/>
            <a:endParaRPr lang="fi-FI" sz="1600" dirty="0"/>
          </a:p>
        </p:txBody>
      </p:sp>
    </p:spTree>
    <p:extLst>
      <p:ext uri="{BB962C8B-B14F-4D97-AF65-F5344CB8AC3E}">
        <p14:creationId xmlns:p14="http://schemas.microsoft.com/office/powerpoint/2010/main" val="21096249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7B52888-2B31-7E86-78C4-4C9D0272B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Kohdeavustukset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6FAD508-120C-20FB-FD96-0177D944B42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4" y="1484784"/>
            <a:ext cx="11233151" cy="4465191"/>
          </a:xfrm>
        </p:spPr>
        <p:txBody>
          <a:bodyPr/>
          <a:lstStyle/>
          <a:p>
            <a:r>
              <a:rPr lang="fi-FI" sz="2200" dirty="0"/>
              <a:t>Pirhan ensimmäinen haku pidettiin 22.5.-9.6.2023</a:t>
            </a:r>
          </a:p>
          <a:p>
            <a:r>
              <a:rPr lang="fi-FI" sz="2200" dirty="0"/>
              <a:t>Kohdeavustuksia jaettiin 30 yhteisölle yhteensä 54 631,50 euroa</a:t>
            </a:r>
          </a:p>
          <a:p>
            <a:r>
              <a:rPr lang="fi-FI" sz="2200" dirty="0"/>
              <a:t>Kohdeavustusta myönnetään kertaluonteisen, yksittäisen tapahtuman, projektin tai hankkeen toteuttamiseen</a:t>
            </a:r>
          </a:p>
          <a:p>
            <a:r>
              <a:rPr lang="fi-FI" sz="2200" dirty="0"/>
              <a:t>Avustuksen kohteen pitää täydentää hyvinvointialueen vastuulla olevia sosiaali- ja terveyspalveluita</a:t>
            </a:r>
          </a:p>
          <a:p>
            <a:r>
              <a:rPr lang="fi-FI" sz="2200" dirty="0"/>
              <a:t>Tänä vuonna kohdeavustusta pystyi saamaan enintään 5000 euroa per yhteisö</a:t>
            </a:r>
          </a:p>
          <a:p>
            <a:r>
              <a:rPr lang="fi-FI" sz="2200" dirty="0"/>
              <a:t>Kohdeavustuksiin suunnitteilla jatkuva haku, alkaen alkuvuodesta 2024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772865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7D274AF-C4B5-885B-7374-57B02FA6E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Järjestöavustuksissa kehitteillä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E05F9981-F1D4-5253-C050-81D343120FC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3" y="1484784"/>
            <a:ext cx="5472114" cy="4609182"/>
          </a:xfrm>
        </p:spPr>
        <p:txBody>
          <a:bodyPr/>
          <a:lstStyle/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Hakulomakkeiden päivitys syksyllä </a:t>
            </a:r>
          </a:p>
          <a:p>
            <a:pPr marL="360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Aiemmissa hauissa lomakealustana olleesta </a:t>
            </a:r>
            <a:r>
              <a:rPr kumimoji="0" lang="fi-FI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Analysticasta</a:t>
            </a: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 tullut paljon palautetta (mm. puuttuva välitallennusmahdollisuus)</a:t>
            </a:r>
          </a:p>
          <a:p>
            <a:pPr marL="360000" marR="0" lvl="1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Selvitetään muuta lomakevaihtoehtoa tuleviin hakuihin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+mn-cs"/>
              </a:rPr>
              <a:t>Pirhan avustustoiminnan yleisperiaatteiden päivittäminen vuonna 2024</a:t>
            </a:r>
          </a:p>
          <a:p>
            <a:pPr marL="0" indent="0">
              <a:buNone/>
            </a:pPr>
            <a:endParaRPr lang="fi-FI" dirty="0"/>
          </a:p>
          <a:p>
            <a:endParaRPr lang="fi-FI" dirty="0"/>
          </a:p>
        </p:txBody>
      </p:sp>
      <p:pic>
        <p:nvPicPr>
          <p:cNvPr id="10" name="Kuvan paikkamerkki 9" descr="Kuvassa seisoo vierekkäin kaksi henkilöä. Toisella on päällään hoitajan tummansininen työasu. Toisella on päällään musta-punainen t-paita.&#10;&#10;">
            <a:extLst>
              <a:ext uri="{FF2B5EF4-FFF2-40B4-BE49-F238E27FC236}">
                <a16:creationId xmlns:a16="http://schemas.microsoft.com/office/drawing/2014/main" id="{8D2B4F16-042E-D566-24A7-34D1EF52BED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90" b="11590"/>
          <a:stretch>
            <a:fillRect/>
          </a:stretch>
        </p:blipFill>
        <p:spPr>
          <a:xfrm>
            <a:off x="6240464" y="0"/>
            <a:ext cx="5951536" cy="6858000"/>
          </a:xfrm>
        </p:spPr>
      </p:pic>
    </p:spTree>
    <p:extLst>
      <p:ext uri="{BB962C8B-B14F-4D97-AF65-F5344CB8AC3E}">
        <p14:creationId xmlns:p14="http://schemas.microsoft.com/office/powerpoint/2010/main" val="41211909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6130FC1-BBBF-21E0-4AC2-02C9B9E09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1544" y="968624"/>
            <a:ext cx="5472338" cy="923925"/>
          </a:xfrm>
        </p:spPr>
        <p:txBody>
          <a:bodyPr/>
          <a:lstStyle/>
          <a:p>
            <a:r>
              <a:rPr lang="fi-FI" dirty="0"/>
              <a:t>Muuta ajankohtaista Pirhan järjestöyhteistyöstä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6FD41E5D-8081-C693-58A4-F38C3060EDB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71544" y="2393348"/>
            <a:ext cx="5330365" cy="3816424"/>
          </a:xfrm>
        </p:spPr>
        <p:txBody>
          <a:bodyPr/>
          <a:lstStyle/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+mn-cs"/>
              </a:rPr>
              <a:t>Suunnitteilla järjestöyhteistyön asiakirja, joka kokoaa yhteen kaiken </a:t>
            </a:r>
            <a:r>
              <a:rPr kumimoji="0" lang="fi-FI" sz="22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/>
                <a:cs typeface="+mn-cs"/>
              </a:rPr>
              <a:t>Pirhassa</a:t>
            </a: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+mn-cs"/>
              </a:rPr>
              <a:t> tehtävän järjestöyhteistyön</a:t>
            </a:r>
          </a:p>
          <a:p>
            <a:pPr marL="216000" marR="0" lvl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2146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cs typeface="+mn-cs"/>
              </a:rPr>
              <a:t>Järjestöneuvottelukunta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022664E-4E7D-5460-53F9-3AB4B815921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271464" y="1430587"/>
            <a:ext cx="4032448" cy="3996826"/>
          </a:xfrm>
        </p:spPr>
        <p:txBody>
          <a:bodyPr/>
          <a:lstStyle/>
          <a:p>
            <a:r>
              <a:rPr lang="fi-FI" dirty="0"/>
              <a:t>pirha.fi/ järjestöyhteistyö</a:t>
            </a:r>
          </a:p>
        </p:txBody>
      </p:sp>
    </p:spTree>
    <p:extLst>
      <p:ext uri="{BB962C8B-B14F-4D97-AF65-F5344CB8AC3E}">
        <p14:creationId xmlns:p14="http://schemas.microsoft.com/office/powerpoint/2010/main" val="6268438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tsikko 5"/>
          <p:cNvSpPr>
            <a:spLocks noGrp="1"/>
          </p:cNvSpPr>
          <p:nvPr>
            <p:ph type="ctrTitle"/>
          </p:nvPr>
        </p:nvSpPr>
        <p:spPr>
          <a:xfrm>
            <a:off x="5807968" y="1196752"/>
            <a:ext cx="5753161" cy="3168352"/>
          </a:xfrm>
        </p:spPr>
        <p:txBody>
          <a:bodyPr/>
          <a:lstStyle/>
          <a:p>
            <a:r>
              <a:rPr lang="fi-FI" sz="4000" dirty="0"/>
              <a:t>Kiitos!</a:t>
            </a:r>
            <a:br>
              <a:rPr lang="fi-FI" sz="4000" dirty="0"/>
            </a:br>
            <a:br>
              <a:rPr lang="fi-FI" sz="4000" dirty="0"/>
            </a:br>
            <a:r>
              <a:rPr lang="fi-FI" sz="4000" dirty="0"/>
              <a:t>Kysymyksiä, kommentteja, keskustelua</a:t>
            </a:r>
            <a:endParaRPr lang="fi-FI" sz="40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43524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Kaaviokuva 1"/>
          <p:cNvGraphicFramePr/>
          <p:nvPr/>
        </p:nvGraphicFramePr>
        <p:xfrm>
          <a:off x="0" y="159476"/>
          <a:ext cx="12192000" cy="57986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kstiruutu 2"/>
          <p:cNvSpPr txBox="1"/>
          <p:nvPr/>
        </p:nvSpPr>
        <p:spPr>
          <a:xfrm>
            <a:off x="319019" y="495410"/>
            <a:ext cx="115539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8E438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lveluiden verkoston käsittelyn karkea suunnitelma</a:t>
            </a: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rgbClr val="8E4384"/>
              </a:solidFill>
              <a:effectLst/>
              <a:uLnTx/>
              <a:uFillTx/>
              <a:latin typeface="Avenir LT Std 65 Medium"/>
              <a:ea typeface="+mn-ea"/>
              <a:cs typeface="+mn-cs"/>
            </a:endParaRPr>
          </a:p>
        </p:txBody>
      </p:sp>
      <p:sp>
        <p:nvSpPr>
          <p:cNvPr id="11" name="Tekstiruutu 10"/>
          <p:cNvSpPr txBox="1"/>
          <p:nvPr/>
        </p:nvSpPr>
        <p:spPr>
          <a:xfrm>
            <a:off x="5879977" y="4056617"/>
            <a:ext cx="28083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ityisryhmien asumisen palvelut, mielenterveys- ja päihdepalveluiden selvitys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B835BA93-C7E5-4B6D-AC70-0B3ABE65B72E}"/>
              </a:ext>
            </a:extLst>
          </p:cNvPr>
          <p:cNvSpPr txBox="1"/>
          <p:nvPr/>
        </p:nvSpPr>
        <p:spPr>
          <a:xfrm>
            <a:off x="1" y="4056617"/>
            <a:ext cx="2495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lveluverkon kehittämisen periaatteet</a:t>
            </a:r>
          </a:p>
        </p:txBody>
      </p:sp>
      <p:sp>
        <p:nvSpPr>
          <p:cNvPr id="9" name="Tekstiruutu 8">
            <a:extLst>
              <a:ext uri="{FF2B5EF4-FFF2-40B4-BE49-F238E27FC236}">
                <a16:creationId xmlns:a16="http://schemas.microsoft.com/office/drawing/2014/main" id="{C6A3D933-C837-F679-BCF7-058EF9AA60F1}"/>
              </a:ext>
            </a:extLst>
          </p:cNvPr>
          <p:cNvSpPr txBox="1"/>
          <p:nvPr/>
        </p:nvSpPr>
        <p:spPr>
          <a:xfrm>
            <a:off x="2768258" y="3779618"/>
            <a:ext cx="32403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staanottopalveluiden ja työikäisten sosiaalityön palvelut, päivystysselvitys, vuodeosastoselvitys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DC4350B3-3267-528B-5E39-C9BDECED726A}"/>
              </a:ext>
            </a:extLst>
          </p:cNvPr>
          <p:cNvSpPr txBox="1"/>
          <p:nvPr/>
        </p:nvSpPr>
        <p:spPr>
          <a:xfrm>
            <a:off x="9048328" y="3933056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lastuspalvelut, palvelutasopäätös</a:t>
            </a:r>
          </a:p>
        </p:txBody>
      </p:sp>
    </p:spTree>
    <p:extLst>
      <p:ext uri="{BB962C8B-B14F-4D97-AF65-F5344CB8AC3E}">
        <p14:creationId xmlns:p14="http://schemas.microsoft.com/office/powerpoint/2010/main" val="3571514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Arrow: Pentagon 13">
            <a:extLst>
              <a:ext uri="{FF2B5EF4-FFF2-40B4-BE49-F238E27FC236}">
                <a16:creationId xmlns:a16="http://schemas.microsoft.com/office/drawing/2014/main" id="{1C2E5A9C-8D76-E770-CF06-ACF7549B5F97}"/>
              </a:ext>
            </a:extLst>
          </p:cNvPr>
          <p:cNvSpPr/>
          <p:nvPr/>
        </p:nvSpPr>
        <p:spPr>
          <a:xfrm>
            <a:off x="6317768" y="2169027"/>
            <a:ext cx="3888590" cy="632014"/>
          </a:xfrm>
          <a:prstGeom prst="homePlate">
            <a:avLst/>
          </a:prstGeom>
          <a:solidFill>
            <a:schemeClr val="bg2"/>
          </a:solidFill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yvinvointialue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YT-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i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äynnistäminen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A3BF334B-BCF4-24BE-FC45-5C257F4FE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A3BF334B-BCF4-24BE-FC45-5C257F4FE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CE1F9EF-3B80-4C45-295E-EC97C551ABDB}"/>
              </a:ext>
            </a:extLst>
          </p:cNvPr>
          <p:cNvGraphicFramePr>
            <a:graphicFrameLocks noGrp="1"/>
          </p:cNvGraphicFramePr>
          <p:nvPr/>
        </p:nvGraphicFramePr>
        <p:xfrm>
          <a:off x="519346" y="1269000"/>
          <a:ext cx="10905244" cy="30132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278357">
                  <a:extLst>
                    <a:ext uri="{9D8B030D-6E8A-4147-A177-3AD203B41FA5}">
                      <a16:colId xmlns:a16="http://schemas.microsoft.com/office/drawing/2014/main" val="3740010097"/>
                    </a:ext>
                  </a:extLst>
                </a:gridCol>
                <a:gridCol w="1278357">
                  <a:extLst>
                    <a:ext uri="{9D8B030D-6E8A-4147-A177-3AD203B41FA5}">
                      <a16:colId xmlns:a16="http://schemas.microsoft.com/office/drawing/2014/main" val="785138131"/>
                    </a:ext>
                  </a:extLst>
                </a:gridCol>
                <a:gridCol w="1278357">
                  <a:extLst>
                    <a:ext uri="{9D8B030D-6E8A-4147-A177-3AD203B41FA5}">
                      <a16:colId xmlns:a16="http://schemas.microsoft.com/office/drawing/2014/main" val="1826476002"/>
                    </a:ext>
                  </a:extLst>
                </a:gridCol>
                <a:gridCol w="1278357">
                  <a:extLst>
                    <a:ext uri="{9D8B030D-6E8A-4147-A177-3AD203B41FA5}">
                      <a16:colId xmlns:a16="http://schemas.microsoft.com/office/drawing/2014/main" val="3330357869"/>
                    </a:ext>
                  </a:extLst>
                </a:gridCol>
                <a:gridCol w="1447954">
                  <a:extLst>
                    <a:ext uri="{9D8B030D-6E8A-4147-A177-3AD203B41FA5}">
                      <a16:colId xmlns:a16="http://schemas.microsoft.com/office/drawing/2014/main" val="3995455016"/>
                    </a:ext>
                  </a:extLst>
                </a:gridCol>
                <a:gridCol w="1447954">
                  <a:extLst>
                    <a:ext uri="{9D8B030D-6E8A-4147-A177-3AD203B41FA5}">
                      <a16:colId xmlns:a16="http://schemas.microsoft.com/office/drawing/2014/main" val="939578037"/>
                    </a:ext>
                  </a:extLst>
                </a:gridCol>
                <a:gridCol w="1447954">
                  <a:extLst>
                    <a:ext uri="{9D8B030D-6E8A-4147-A177-3AD203B41FA5}">
                      <a16:colId xmlns:a16="http://schemas.microsoft.com/office/drawing/2014/main" val="3516943098"/>
                    </a:ext>
                  </a:extLst>
                </a:gridCol>
                <a:gridCol w="1447954">
                  <a:extLst>
                    <a:ext uri="{9D8B030D-6E8A-4147-A177-3AD203B41FA5}">
                      <a16:colId xmlns:a16="http://schemas.microsoft.com/office/drawing/2014/main" val="3501615564"/>
                    </a:ext>
                  </a:extLst>
                </a:gridCol>
              </a:tblGrid>
              <a:tr h="301326">
                <a:tc>
                  <a:txBody>
                    <a:bodyPr/>
                    <a:lstStyle/>
                    <a:p>
                      <a:pPr algn="ctr"/>
                      <a:r>
                        <a:rPr lang="en-US" sz="1200" b="1" i="1" err="1">
                          <a:solidFill>
                            <a:schemeClr val="bg1"/>
                          </a:solidFill>
                        </a:rPr>
                        <a:t>Kevät</a:t>
                      </a:r>
                      <a:endParaRPr lang="fi-FI" sz="1200" b="1" i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20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i-FI" sz="1200"/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/>
                        <a:t>Elokuu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/>
                        <a:t>Syyskuu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/>
                        <a:t>Lokakuu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/>
                        <a:t>Marraskuu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/>
                        <a:t>Joulukuu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10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3952291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8340C9-7C3E-B2F9-FCA9-8F5628B7A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187" y="333375"/>
            <a:ext cx="11448000" cy="923925"/>
          </a:xfrm>
        </p:spPr>
        <p:txBody>
          <a:bodyPr vert="horz"/>
          <a:lstStyle/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Palveluiden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verkoston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kehittämisen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osakokonaisuudet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syksy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2023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1F0608B5-7BA4-8C14-281D-2AE63C3F5944}"/>
              </a:ext>
            </a:extLst>
          </p:cNvPr>
          <p:cNvSpPr/>
          <p:nvPr/>
        </p:nvSpPr>
        <p:spPr>
          <a:xfrm>
            <a:off x="1344000" y="1917000"/>
            <a:ext cx="5040000" cy="2160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staanottopalvelu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a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yöikäiste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s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velut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0C16F54F-A626-6124-54E2-0A1AEB354009}"/>
              </a:ext>
            </a:extLst>
          </p:cNvPr>
          <p:cNvSpPr/>
          <p:nvPr/>
        </p:nvSpPr>
        <p:spPr>
          <a:xfrm>
            <a:off x="5520000" y="4653000"/>
            <a:ext cx="4104000" cy="2160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te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orte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a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heide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velut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62F5D5CA-17C8-2BFF-EF34-0C9DC550A806}"/>
              </a:ext>
            </a:extLst>
          </p:cNvPr>
          <p:cNvSpPr/>
          <p:nvPr/>
        </p:nvSpPr>
        <p:spPr>
          <a:xfrm>
            <a:off x="5520000" y="4941000"/>
            <a:ext cx="4104000" cy="2160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u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rveydenhuolto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B40680EE-8ED9-2BB6-DAFE-FC49F3A139F8}"/>
              </a:ext>
            </a:extLst>
          </p:cNvPr>
          <p:cNvSpPr/>
          <p:nvPr/>
        </p:nvSpPr>
        <p:spPr>
          <a:xfrm>
            <a:off x="8220000" y="5229000"/>
            <a:ext cx="2736000" cy="21600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okuntoutu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3DBEC600-069E-04C0-BBBB-4FB7624BC858}"/>
              </a:ext>
            </a:extLst>
          </p:cNvPr>
          <p:cNvSpPr/>
          <p:nvPr/>
        </p:nvSpPr>
        <p:spPr>
          <a:xfrm>
            <a:off x="8220000" y="5949000"/>
            <a:ext cx="2736000" cy="360000"/>
          </a:xfrm>
          <a:prstGeom prst="homePlate">
            <a:avLst/>
          </a:prstGeom>
          <a:solidFill>
            <a:schemeClr val="accent4"/>
          </a:solidFill>
          <a:ln w="6350">
            <a:noFill/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hteise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septi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uonti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te-toimipisteide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velusisällö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ottuna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1EF2AE0B-39B2-F920-A946-3951C43EA7C6}"/>
              </a:ext>
            </a:extLst>
          </p:cNvPr>
          <p:cNvSpPr/>
          <p:nvPr/>
        </p:nvSpPr>
        <p:spPr>
          <a:xfrm>
            <a:off x="3936000" y="3105560"/>
            <a:ext cx="3557532" cy="216000"/>
          </a:xfrm>
          <a:prstGeom prst="homePlat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I2035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äihmist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veluj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hittämisohjelma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EBC8BBAE-689B-B5D0-6766-3DA0BE151216}"/>
              </a:ext>
            </a:extLst>
          </p:cNvPr>
          <p:cNvSpPr/>
          <p:nvPr/>
        </p:nvSpPr>
        <p:spPr>
          <a:xfrm>
            <a:off x="3936000" y="3393560"/>
            <a:ext cx="3557532" cy="216000"/>
          </a:xfrm>
          <a:prstGeom prst="homePlat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mmaist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umispalveluj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vitys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D2BE7D24-39F8-1EA4-6F67-90EBB2C78591}"/>
              </a:ext>
            </a:extLst>
          </p:cNvPr>
          <p:cNvSpPr/>
          <p:nvPr/>
        </p:nvSpPr>
        <p:spPr>
          <a:xfrm>
            <a:off x="1344000" y="2205000"/>
            <a:ext cx="5040000" cy="2160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iraalaselvity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A6DC11AF-B902-2C71-35DB-B47492CECC63}"/>
              </a:ext>
            </a:extLst>
          </p:cNvPr>
          <p:cNvSpPr/>
          <p:nvPr/>
        </p:nvSpPr>
        <p:spPr>
          <a:xfrm>
            <a:off x="1344000" y="2493000"/>
            <a:ext cx="5040000" cy="216000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äivystysselvity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D26F3A1E-47FD-8733-2E27-B172AD25748E}"/>
              </a:ext>
            </a:extLst>
          </p:cNvPr>
          <p:cNvSpPr/>
          <p:nvPr/>
        </p:nvSpPr>
        <p:spPr>
          <a:xfrm>
            <a:off x="3936000" y="4040441"/>
            <a:ext cx="3557532" cy="316593"/>
          </a:xfrm>
          <a:prstGeom prst="homePlat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sykiatri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elentervey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ja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äihdepalveluid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vity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F080D5DC-62AF-B59F-127E-B3DDA953543F}"/>
              </a:ext>
            </a:extLst>
          </p:cNvPr>
          <p:cNvSpPr/>
          <p:nvPr/>
        </p:nvSpPr>
        <p:spPr>
          <a:xfrm>
            <a:off x="7536000" y="3141000"/>
            <a:ext cx="3888590" cy="21600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unnitelmi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kentaminen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E00A3B2-E4BA-2873-0835-349CDCD07334}"/>
              </a:ext>
            </a:extLst>
          </p:cNvPr>
          <p:cNvSpPr/>
          <p:nvPr/>
        </p:nvSpPr>
        <p:spPr>
          <a:xfrm>
            <a:off x="6672000" y="2781000"/>
            <a:ext cx="792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ehallitus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9.10.</a:t>
            </a: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04E6CD88-686B-3EFB-EAC0-015FC4AF1329}"/>
              </a:ext>
            </a:extLst>
          </p:cNvPr>
          <p:cNvSpPr/>
          <p:nvPr/>
        </p:nvSpPr>
        <p:spPr>
          <a:xfrm>
            <a:off x="7379311" y="2825525"/>
            <a:ext cx="216000" cy="21600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F008C012-1B76-0632-E9DC-355615B1107A}"/>
              </a:ext>
            </a:extLst>
          </p:cNvPr>
          <p:cNvSpPr/>
          <p:nvPr/>
        </p:nvSpPr>
        <p:spPr>
          <a:xfrm>
            <a:off x="9336000" y="4365000"/>
            <a:ext cx="216000" cy="216000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31EA3D9-C752-91CA-53AF-D6BB2ED40FAF}"/>
              </a:ext>
            </a:extLst>
          </p:cNvPr>
          <p:cNvSpPr/>
          <p:nvPr/>
        </p:nvSpPr>
        <p:spPr>
          <a:xfrm>
            <a:off x="8400000" y="4293000"/>
            <a:ext cx="1008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ehallitus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7.11. </a:t>
            </a:r>
          </a:p>
        </p:txBody>
      </p:sp>
      <p:sp>
        <p:nvSpPr>
          <p:cNvPr id="24" name="Arrow: Pentagon 23">
            <a:extLst>
              <a:ext uri="{FF2B5EF4-FFF2-40B4-BE49-F238E27FC236}">
                <a16:creationId xmlns:a16="http://schemas.microsoft.com/office/drawing/2014/main" id="{6A74CE87-6F8B-AC98-5F94-2EC143AE6075}"/>
              </a:ext>
            </a:extLst>
          </p:cNvPr>
          <p:cNvSpPr/>
          <p:nvPr/>
        </p:nvSpPr>
        <p:spPr>
          <a:xfrm>
            <a:off x="8220000" y="5517000"/>
            <a:ext cx="2736000" cy="360000"/>
          </a:xfrm>
          <a:prstGeom prst="homePlate">
            <a:avLst/>
          </a:prstGeom>
          <a:solidFill>
            <a:schemeClr val="accent4"/>
          </a:solidFill>
          <a:ln w="3175">
            <a:noFill/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hitysvammaisten päivä- ja työtoiminta sekä </a:t>
            </a:r>
            <a:r>
              <a:rPr kumimoji="0" lang="fi-FI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mmaissos.työ</a:t>
            </a:r>
            <a:endParaRPr kumimoji="0" lang="fi-FI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5EAD86D0-8505-C5DE-0F1A-20DA640C2496}"/>
              </a:ext>
            </a:extLst>
          </p:cNvPr>
          <p:cNvSpPr/>
          <p:nvPr/>
        </p:nvSpPr>
        <p:spPr>
          <a:xfrm>
            <a:off x="4800000" y="6381000"/>
            <a:ext cx="6480000" cy="21600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kemma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unnitelma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ikkuvi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a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äpalveluid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ä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id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ilotoimise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alta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C73EB52E-D1AB-0254-C599-376AC9B0B950}"/>
              </a:ext>
            </a:extLst>
          </p:cNvPr>
          <p:cNvSpPr/>
          <p:nvPr/>
        </p:nvSpPr>
        <p:spPr>
          <a:xfrm>
            <a:off x="3936000" y="3681560"/>
            <a:ext cx="3557532" cy="286882"/>
          </a:xfrm>
          <a:prstGeom prst="homePlat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dirty="0" err="1">
                <a:solidFill>
                  <a:srgbClr val="FFFFFF"/>
                </a:solidFill>
                <a:latin typeface="Arial" panose="020B0604020202020204"/>
              </a:rPr>
              <a:t>Mielenterveys</a:t>
            </a:r>
            <a:r>
              <a:rPr lang="en-GB" sz="1100" dirty="0">
                <a:solidFill>
                  <a:srgbClr val="FFFFFF"/>
                </a:solidFill>
                <a:latin typeface="Arial" panose="020B0604020202020204"/>
              </a:rPr>
              <a:t>- </a:t>
            </a:r>
            <a:r>
              <a:rPr lang="en-GB" sz="1100" dirty="0" err="1">
                <a:solidFill>
                  <a:srgbClr val="FFFFFF"/>
                </a:solidFill>
                <a:latin typeface="Arial" panose="020B0604020202020204"/>
              </a:rPr>
              <a:t>ja</a:t>
            </a:r>
            <a:r>
              <a:rPr lang="en-GB" sz="1100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GB" sz="1100" dirty="0" err="1">
                <a:solidFill>
                  <a:srgbClr val="FFFFFF"/>
                </a:solidFill>
                <a:latin typeface="Arial" panose="020B0604020202020204"/>
              </a:rPr>
              <a:t>päihdeasiakkaiden</a:t>
            </a:r>
            <a:r>
              <a:rPr lang="en-GB" sz="1100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GB" sz="1100" dirty="0" err="1">
                <a:solidFill>
                  <a:srgbClr val="FFFFFF"/>
                </a:solidFill>
                <a:latin typeface="Arial" panose="020B0604020202020204"/>
              </a:rPr>
              <a:t>asumispalvelujen</a:t>
            </a:r>
            <a:r>
              <a:rPr lang="en-GB" sz="1100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GB" sz="1100" dirty="0" err="1">
                <a:solidFill>
                  <a:srgbClr val="FFFFFF"/>
                </a:solidFill>
                <a:latin typeface="Arial" panose="020B0604020202020204"/>
              </a:rPr>
              <a:t>kehittämisen</a:t>
            </a:r>
            <a:r>
              <a:rPr lang="en-GB" sz="1100" dirty="0">
                <a:solidFill>
                  <a:srgbClr val="FFFFFF"/>
                </a:solidFill>
                <a:latin typeface="Arial" panose="020B0604020202020204"/>
              </a:rPr>
              <a:t> </a:t>
            </a:r>
            <a:r>
              <a:rPr lang="en-GB" sz="1100" dirty="0" err="1">
                <a:solidFill>
                  <a:srgbClr val="FFFFFF"/>
                </a:solidFill>
                <a:latin typeface="Arial" panose="020B0604020202020204"/>
              </a:rPr>
              <a:t>selvitys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5E9F9AA-13FF-E0E6-AF55-ADE0D468238E}"/>
              </a:ext>
            </a:extLst>
          </p:cNvPr>
          <p:cNvSpPr/>
          <p:nvPr/>
        </p:nvSpPr>
        <p:spPr>
          <a:xfrm>
            <a:off x="3288000" y="6309000"/>
            <a:ext cx="136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stavasti tunnistettuja tarpeita</a:t>
            </a: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756184ED-1468-D2F6-A40A-A8A4D40A84BE}"/>
              </a:ext>
            </a:extLst>
          </p:cNvPr>
          <p:cNvSpPr/>
          <p:nvPr/>
        </p:nvSpPr>
        <p:spPr>
          <a:xfrm>
            <a:off x="5810634" y="1645583"/>
            <a:ext cx="216000" cy="21600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EA58F22-7FFC-02A0-F8D4-4D4709A104D6}"/>
              </a:ext>
            </a:extLst>
          </p:cNvPr>
          <p:cNvSpPr/>
          <p:nvPr/>
        </p:nvSpPr>
        <p:spPr>
          <a:xfrm>
            <a:off x="5016000" y="1573583"/>
            <a:ext cx="936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ehallitus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1.9.</a:t>
            </a: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BB122794-80F4-2647-973A-1C1F34105FB4}"/>
              </a:ext>
            </a:extLst>
          </p:cNvPr>
          <p:cNvSpPr/>
          <p:nvPr/>
        </p:nvSpPr>
        <p:spPr>
          <a:xfrm>
            <a:off x="10560000" y="4941000"/>
            <a:ext cx="216000" cy="216000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4E0DC11-621C-1220-2A53-F90E6189FD35}"/>
              </a:ext>
            </a:extLst>
          </p:cNvPr>
          <p:cNvSpPr/>
          <p:nvPr/>
        </p:nvSpPr>
        <p:spPr>
          <a:xfrm>
            <a:off x="9696000" y="4869000"/>
            <a:ext cx="1008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ehallitus</a:t>
            </a: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8.12.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B568FF8-D472-8CBC-D934-D10B3CC481DE}"/>
              </a:ext>
            </a:extLst>
          </p:cNvPr>
          <p:cNvSpPr/>
          <p:nvPr/>
        </p:nvSpPr>
        <p:spPr>
          <a:xfrm>
            <a:off x="48000" y="1977816"/>
            <a:ext cx="1296000" cy="50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31A7D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1A7D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alto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31A7D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744736C-52EF-DEA1-7DB5-93635E086332}"/>
              </a:ext>
            </a:extLst>
          </p:cNvPr>
          <p:cNvSpPr/>
          <p:nvPr/>
        </p:nvSpPr>
        <p:spPr>
          <a:xfrm>
            <a:off x="2568000" y="3393000"/>
            <a:ext cx="1296000" cy="50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72146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72146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alto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72146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D63627D-9BD5-F6BD-7C26-7BFFAE0C8634}"/>
              </a:ext>
            </a:extLst>
          </p:cNvPr>
          <p:cNvSpPr/>
          <p:nvPr/>
        </p:nvSpPr>
        <p:spPr>
          <a:xfrm>
            <a:off x="4172456" y="4617000"/>
            <a:ext cx="1296000" cy="50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8C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8C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alto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8C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2A4DC15-F023-26BA-AD95-E4857B77FE54}"/>
              </a:ext>
            </a:extLst>
          </p:cNvPr>
          <p:cNvSpPr/>
          <p:nvPr/>
        </p:nvSpPr>
        <p:spPr>
          <a:xfrm>
            <a:off x="6947311" y="5472475"/>
            <a:ext cx="1296000" cy="50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598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598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alto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598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994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9AE2BCF-7A92-60F6-B997-67B54218B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260648"/>
            <a:ext cx="6226176" cy="923925"/>
          </a:xfrm>
        </p:spPr>
        <p:txBody>
          <a:bodyPr/>
          <a:lstStyle/>
          <a:p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Kuulemiskierrostahoja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6F9A94E9-A152-538D-29B6-0D576BE075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3" y="1184573"/>
            <a:ext cx="6840711" cy="4321175"/>
          </a:xfrm>
        </p:spPr>
        <p:txBody>
          <a:bodyPr/>
          <a:lstStyle/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Kaikki valiokunnat: strategia ja tulevaisuusvk, monipalveluvk, hyvinvointi- ja kokonaisturvallisuusvk, vähän palveluita käyttävien vk</a:t>
            </a:r>
          </a:p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Kaikki jaostot: asiakkuus- ja laatu, henkilöstö, konserni- ja toimitila</a:t>
            </a:r>
          </a:p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Vanhusneuvosto, vammaisneuvosto, nuorisovaltuusto</a:t>
            </a:r>
          </a:p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YT-ryhmä</a:t>
            </a:r>
          </a:p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Erillinen palveluverkkosivu pirha.fi/palveluverkko sis. linkin palautelomakkeeseen ja tallenteet asukastilaisuuksista</a:t>
            </a:r>
          </a:p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Seurakuntien ja järjestöjen tilaisuus </a:t>
            </a:r>
          </a:p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Asukastilaisuudet eri puolilla Pirkanmaata 6 + 2 + 2</a:t>
            </a:r>
          </a:p>
          <a:p>
            <a:r>
              <a:rPr lang="fi-FI" sz="2000" dirty="0">
                <a:latin typeface="Arial" panose="020B0604020202020204" pitchFamily="34" charset="0"/>
                <a:cs typeface="Arial" panose="020B0604020202020204" pitchFamily="34" charset="0"/>
              </a:rPr>
              <a:t>Erillinen sähköinen asukaskysely kohdennetusti + palautelomakkeet suurimmilla sote-asemilla</a:t>
            </a:r>
          </a:p>
        </p:txBody>
      </p:sp>
      <p:pic>
        <p:nvPicPr>
          <p:cNvPr id="9" name="Kuvan paikkamerkki 8" descr="Kuva, joka sisältää kohteen seinä, sisä-, huonekalu, Toimistorakennus&#10;&#10;Kuvaus luotu automaattisesti">
            <a:extLst>
              <a:ext uri="{FF2B5EF4-FFF2-40B4-BE49-F238E27FC236}">
                <a16:creationId xmlns:a16="http://schemas.microsoft.com/office/drawing/2014/main" id="{BB5D7180-2DFC-BCAA-F6DA-3673032615A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69" r="21073"/>
          <a:stretch/>
        </p:blipFill>
        <p:spPr>
          <a:xfrm>
            <a:off x="7320135" y="0"/>
            <a:ext cx="4871863" cy="6858000"/>
          </a:xfrm>
        </p:spPr>
      </p:pic>
    </p:spTree>
    <p:extLst>
      <p:ext uri="{BB962C8B-B14F-4D97-AF65-F5344CB8AC3E}">
        <p14:creationId xmlns:p14="http://schemas.microsoft.com/office/powerpoint/2010/main" val="22061033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id="{55529531-E75E-24E5-EDD8-181C17E59EAA}"/>
              </a:ext>
            </a:extLst>
          </p:cNvPr>
          <p:cNvSpPr>
            <a:spLocks/>
          </p:cNvSpPr>
          <p:nvPr/>
        </p:nvSpPr>
        <p:spPr bwMode="auto">
          <a:xfrm>
            <a:off x="7750000" y="4373186"/>
            <a:ext cx="1251156" cy="276325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16A952C-E471-E989-404B-E977CDC1A6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16A952C-E471-E989-404B-E977CDC1A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70E5065-5837-3965-33BC-3BC37B8296E4}"/>
              </a:ext>
            </a:extLst>
          </p:cNvPr>
          <p:cNvSpPr>
            <a:spLocks/>
          </p:cNvSpPr>
          <p:nvPr/>
        </p:nvSpPr>
        <p:spPr>
          <a:xfrm>
            <a:off x="3318623" y="1938407"/>
            <a:ext cx="2754000" cy="437449"/>
          </a:xfrm>
          <a:prstGeom prst="rect">
            <a:avLst/>
          </a:prstGeom>
          <a:solidFill>
            <a:srgbClr val="015373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b"/>
          <a:lstStyle/>
          <a:p>
            <a:pPr marL="0" marR="0" lvl="0" indent="0" algn="ctr" defTabSz="609585" rtl="0" eaLnBrk="1" fontAlgn="auto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hdenvertaiset, ennaltaehkäisevät ja vaikuttavat palvelu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DAB319-C9AE-62CA-5B6F-34088B57469D}"/>
              </a:ext>
            </a:extLst>
          </p:cNvPr>
          <p:cNvSpPr>
            <a:spLocks/>
          </p:cNvSpPr>
          <p:nvPr/>
        </p:nvSpPr>
        <p:spPr>
          <a:xfrm>
            <a:off x="6298378" y="1938407"/>
            <a:ext cx="2754000" cy="437449"/>
          </a:xfrm>
          <a:prstGeom prst="rect">
            <a:avLst/>
          </a:prstGeom>
          <a:solidFill>
            <a:srgbClr val="015373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yvinvoivat työntekijä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DAF0D6-0EDA-252D-4757-CDE670512AA2}"/>
              </a:ext>
            </a:extLst>
          </p:cNvPr>
          <p:cNvSpPr>
            <a:spLocks/>
          </p:cNvSpPr>
          <p:nvPr/>
        </p:nvSpPr>
        <p:spPr>
          <a:xfrm>
            <a:off x="9278133" y="1938407"/>
            <a:ext cx="2754000" cy="437449"/>
          </a:xfrm>
          <a:prstGeom prst="rect">
            <a:avLst/>
          </a:prstGeom>
          <a:solidFill>
            <a:srgbClr val="015373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hdessä yhteentoimiva hyvinvointialu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332C3D-8DA2-04EE-2450-9AF464645FC8}"/>
              </a:ext>
            </a:extLst>
          </p:cNvPr>
          <p:cNvSpPr>
            <a:spLocks/>
          </p:cNvSpPr>
          <p:nvPr/>
        </p:nvSpPr>
        <p:spPr>
          <a:xfrm>
            <a:off x="338868" y="1938407"/>
            <a:ext cx="2754000" cy="437449"/>
          </a:xfrm>
          <a:prstGeom prst="rect">
            <a:avLst/>
          </a:prstGeom>
          <a:solidFill>
            <a:srgbClr val="015373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ärkeintä ihmine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A4A889-C82C-8DD1-EF86-427CC7226E48}"/>
              </a:ext>
            </a:extLst>
          </p:cNvPr>
          <p:cNvSpPr>
            <a:spLocks/>
          </p:cNvSpPr>
          <p:nvPr/>
        </p:nvSpPr>
        <p:spPr>
          <a:xfrm>
            <a:off x="9235550" y="3785096"/>
            <a:ext cx="1353600" cy="87444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72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562" tIns="32562" rIns="32562" bIns="32562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3. Vuorovaikutus oh-jaavien ministeriöiden kanssa on selkeää ja tavoitteellista</a:t>
            </a:r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18209BE-F1FC-DA44-3969-B792A7E32561}"/>
              </a:ext>
            </a:extLst>
          </p:cNvPr>
          <p:cNvSpPr>
            <a:spLocks/>
          </p:cNvSpPr>
          <p:nvPr/>
        </p:nvSpPr>
        <p:spPr>
          <a:xfrm>
            <a:off x="9254330" y="4691051"/>
            <a:ext cx="2779611" cy="6665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72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562" tIns="32562" rIns="32562" bIns="32562" rtlCol="0" anchor="t"/>
          <a:lstStyle/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5. Suomen johtava vaikuttavuustoimija ja edelläkävijä yhdessä korkeakouluyhteisön ja oppilaitosten kanssa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AD8E533-6DFC-3EDE-54E1-29269D42D143}"/>
              </a:ext>
            </a:extLst>
          </p:cNvPr>
          <p:cNvSpPr>
            <a:spLocks/>
          </p:cNvSpPr>
          <p:nvPr/>
        </p:nvSpPr>
        <p:spPr>
          <a:xfrm>
            <a:off x="7698778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2.Työntekijät valitsevat Pirkanmaan hyvinvointialueen ja suosittelevat sitä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6739B1B-8900-9905-A921-84B610899F36}"/>
              </a:ext>
            </a:extLst>
          </p:cNvPr>
          <p:cNvSpPr>
            <a:spLocks/>
          </p:cNvSpPr>
          <p:nvPr/>
        </p:nvSpPr>
        <p:spPr>
          <a:xfrm>
            <a:off x="6295600" y="3793123"/>
            <a:ext cx="1353600" cy="14587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4572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3. Saatavilla olevat henkilöstöresurssit ja -voimavarat on kohdistettu siten, että työntekijöillä on edellytykset onnistua työssään</a:t>
            </a:r>
          </a:p>
          <a:p>
            <a:pPr marL="0" marR="0" lvl="0" indent="0" algn="ctr" defTabSz="4572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i-FI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7284055-BB7D-673D-6081-95CA3D0B4B37}"/>
              </a:ext>
            </a:extLst>
          </p:cNvPr>
          <p:cNvSpPr>
            <a:spLocks/>
          </p:cNvSpPr>
          <p:nvPr/>
        </p:nvSpPr>
        <p:spPr>
          <a:xfrm>
            <a:off x="6298378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1. Yhteinen hyvinvointi-alueen kulttuuri rakentunut ja muutos-johtamisessa onnistuttu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0661D28-70A5-7AED-D600-CF17DFC4E1D9}"/>
              </a:ext>
            </a:extLst>
          </p:cNvPr>
          <p:cNvSpPr>
            <a:spLocks/>
          </p:cNvSpPr>
          <p:nvPr/>
        </p:nvSpPr>
        <p:spPr>
          <a:xfrm>
            <a:off x="7697332" y="3798567"/>
            <a:ext cx="1353600" cy="14587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4. Työntekijät ovat tyytyväisiä työhönsä, työyhteisöön ja mahdollisuuksiinsa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CB8EE49-4DC7-43FF-495F-68402764AEDE}"/>
              </a:ext>
            </a:extLst>
          </p:cNvPr>
          <p:cNvSpPr>
            <a:spLocks/>
          </p:cNvSpPr>
          <p:nvPr/>
        </p:nvSpPr>
        <p:spPr>
          <a:xfrm>
            <a:off x="3315398" y="3783617"/>
            <a:ext cx="1353600" cy="14066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3 Yhdenvertainen tarpeeseen perustuva palveluihin pääsy ja yhtenäiset toimintamallit sote-asemilla &amp; perhe-keskuksissa </a:t>
            </a:r>
            <a:endParaRPr kumimoji="0" lang="fi-FI" sz="800" b="1" i="0" u="none" strike="noStrike" kern="1200" cap="none" spc="-1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6805336-60C8-E0B6-B67C-221012863214}"/>
              </a:ext>
            </a:extLst>
          </p:cNvPr>
          <p:cNvSpPr>
            <a:spLocks/>
          </p:cNvSpPr>
          <p:nvPr/>
        </p:nvSpPr>
        <p:spPr>
          <a:xfrm>
            <a:off x="4719023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2. Kestävä palvelu-rakenne vahvalla integraatiolla sekä hoito- ja palveluketjujen uudistamisella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9B0A1289-910B-070B-648F-64CE83D28B5C}"/>
              </a:ext>
            </a:extLst>
          </p:cNvPr>
          <p:cNvSpPr>
            <a:spLocks/>
          </p:cNvSpPr>
          <p:nvPr/>
        </p:nvSpPr>
        <p:spPr>
          <a:xfrm>
            <a:off x="3318623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1. Vahvat omaehtoiset </a:t>
            </a:r>
            <a:b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 ennaltaehkäisevät palvelut</a:t>
            </a:r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F5141BD-17DC-47A7-4D6D-E4EB0D2FF6E7}"/>
              </a:ext>
            </a:extLst>
          </p:cNvPr>
          <p:cNvSpPr>
            <a:spLocks/>
          </p:cNvSpPr>
          <p:nvPr/>
        </p:nvSpPr>
        <p:spPr>
          <a:xfrm>
            <a:off x="3315398" y="5800098"/>
            <a:ext cx="2780602" cy="6293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6. Strategisesti hyödynnetty ja arvoperusteinen monituottajuus</a:t>
            </a:r>
            <a:endParaRPr kumimoji="0" lang="fi-FI" sz="8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5A4C4B9-D8C5-2D95-C07E-AA9686AD4333}"/>
              </a:ext>
            </a:extLst>
          </p:cNvPr>
          <p:cNvSpPr>
            <a:spLocks/>
          </p:cNvSpPr>
          <p:nvPr/>
        </p:nvSpPr>
        <p:spPr>
          <a:xfrm>
            <a:off x="343526" y="3784246"/>
            <a:ext cx="1353600" cy="12564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3. Osallistuminen palveluiden kehittämiseen on helppoa ja osa henkilöstön ja asukkaiden arkea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6765A3BA-7255-0432-C8DD-3281C9D12ECB}"/>
              </a:ext>
            </a:extLst>
          </p:cNvPr>
          <p:cNvSpPr>
            <a:spLocks/>
          </p:cNvSpPr>
          <p:nvPr/>
        </p:nvSpPr>
        <p:spPr>
          <a:xfrm>
            <a:off x="342942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1. Asukkaiden ja henkilöstön luottamus saavutettu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B3C99EE-560D-53AD-77DA-FB605B309961}"/>
              </a:ext>
            </a:extLst>
          </p:cNvPr>
          <p:cNvSpPr>
            <a:spLocks/>
          </p:cNvSpPr>
          <p:nvPr/>
        </p:nvSpPr>
        <p:spPr>
          <a:xfrm>
            <a:off x="1743342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2. Asiakaskokemusta </a:t>
            </a:r>
            <a:b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tataan ja hyödynnetään yhtenäisesti ja tavoitteellisesti koko hyvinvointialueella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10186EF-D514-F88B-6C84-D90A2764EA4A}"/>
              </a:ext>
            </a:extLst>
          </p:cNvPr>
          <p:cNvSpPr>
            <a:spLocks/>
          </p:cNvSpPr>
          <p:nvPr/>
        </p:nvSpPr>
        <p:spPr>
          <a:xfrm>
            <a:off x="1743342" y="3784246"/>
            <a:ext cx="1353600" cy="12564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4. Asukkailla ja henkilöstöllä vahva turvallisuuden tunne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A13C418-E8FC-89D8-D73B-6271A814532E}"/>
              </a:ext>
            </a:extLst>
          </p:cNvPr>
          <p:cNvSpPr>
            <a:spLocks/>
          </p:cNvSpPr>
          <p:nvPr/>
        </p:nvSpPr>
        <p:spPr>
          <a:xfrm>
            <a:off x="10681433" y="3775229"/>
            <a:ext cx="1353600" cy="8843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4. Kehittämiskokonai-suuksia johdetaan systemaattisesti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7AB6A3B-A163-7F10-4EC3-839DD41F2033}"/>
              </a:ext>
            </a:extLst>
          </p:cNvPr>
          <p:cNvSpPr>
            <a:spLocks/>
          </p:cNvSpPr>
          <p:nvPr/>
        </p:nvSpPr>
        <p:spPr>
          <a:xfrm>
            <a:off x="10678533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72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562" tIns="32562" rIns="32562" bIns="32562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2. Tiedolla johtamisen rakenteet kehittyneet ja tieto tukee päätöksentekoa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56F4EB5-FDAB-D1C1-3A1E-E2093572D975}"/>
              </a:ext>
            </a:extLst>
          </p:cNvPr>
          <p:cNvSpPr>
            <a:spLocks/>
          </p:cNvSpPr>
          <p:nvPr/>
        </p:nvSpPr>
        <p:spPr>
          <a:xfrm>
            <a:off x="4725399" y="3784246"/>
            <a:ext cx="1353600" cy="14066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4572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4. Eheä ja monikanavainen palveluiden verkost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70B9800-B494-9E58-1EAB-7C28C3EA9E85}"/>
              </a:ext>
            </a:extLst>
          </p:cNvPr>
          <p:cNvSpPr>
            <a:spLocks/>
          </p:cNvSpPr>
          <p:nvPr/>
        </p:nvSpPr>
        <p:spPr>
          <a:xfrm>
            <a:off x="3315397" y="5225282"/>
            <a:ext cx="2763602" cy="5357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5. Aika- ja paikkariippumattomat digitaaliset palvelu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1D48329-427E-9665-EAA8-263D8405551E}"/>
              </a:ext>
            </a:extLst>
          </p:cNvPr>
          <p:cNvSpPr>
            <a:spLocks/>
          </p:cNvSpPr>
          <p:nvPr/>
        </p:nvSpPr>
        <p:spPr>
          <a:xfrm>
            <a:off x="9254330" y="5391081"/>
            <a:ext cx="1353600" cy="8181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6.Kuntayhteistyö on toimivaa ja luottamukseen perustuvaa, </a:t>
            </a: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nistumme yhdyspinnoilla</a:t>
            </a:r>
          </a:p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B94B18-27A1-440E-814C-58321348A5FD}"/>
              </a:ext>
            </a:extLst>
          </p:cNvPr>
          <p:cNvSpPr>
            <a:spLocks/>
          </p:cNvSpPr>
          <p:nvPr/>
        </p:nvSpPr>
        <p:spPr>
          <a:xfrm>
            <a:off x="10669144" y="5391081"/>
            <a:ext cx="1353600" cy="81696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72" cap="flat" cmpd="sng" algn="ctr">
            <a:solidFill>
              <a:schemeClr val="accent1">
                <a:lumMod val="100000"/>
                <a:shade val="5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562" tIns="32562" rIns="32562" bIns="32562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7. Uudet omistajamallit </a:t>
            </a:r>
            <a:b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 strategiset kump-panuudet hyödynnetty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AE5E22-D080-B277-0A87-409718914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98451"/>
            <a:ext cx="11233150" cy="838030"/>
          </a:xfrm>
        </p:spPr>
        <p:txBody>
          <a:bodyPr vert="horz"/>
          <a:lstStyle/>
          <a:p>
            <a:r>
              <a:rPr lang="fi-FI" sz="3150" dirty="0">
                <a:latin typeface="Arial" panose="020B0604020202020204" pitchFamily="34" charset="0"/>
                <a:cs typeface="Arial" panose="020B0604020202020204" pitchFamily="34" charset="0"/>
              </a:rPr>
              <a:t>Strategisten ohjelmien päätöksentekoprosessi ja suhde toimeenpano-ohjelmaa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75998F-3FCB-C374-DF80-D82A0EED705E}"/>
              </a:ext>
            </a:extLst>
          </p:cNvPr>
          <p:cNvSpPr>
            <a:spLocks/>
          </p:cNvSpPr>
          <p:nvPr/>
        </p:nvSpPr>
        <p:spPr>
          <a:xfrm>
            <a:off x="9235550" y="2430435"/>
            <a:ext cx="1353600" cy="13135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9144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1. Hallintomalli </a:t>
            </a:r>
            <a:b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ukee tehokasta päätöksentekoa ja poliittisen päätöksenteon malli on selkeä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B30B9FE-06F6-B058-0059-284459FBDBCD}"/>
              </a:ext>
            </a:extLst>
          </p:cNvPr>
          <p:cNvSpPr/>
          <p:nvPr/>
        </p:nvSpPr>
        <p:spPr>
          <a:xfrm>
            <a:off x="276321" y="1893511"/>
            <a:ext cx="201855" cy="192000"/>
          </a:xfrm>
          <a:prstGeom prst="ellipse">
            <a:avLst/>
          </a:prstGeom>
          <a:solidFill>
            <a:srgbClr val="4E84A7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C6C745A-1BBF-5E09-58C8-99110A169968}"/>
              </a:ext>
            </a:extLst>
          </p:cNvPr>
          <p:cNvSpPr/>
          <p:nvPr/>
        </p:nvSpPr>
        <p:spPr>
          <a:xfrm>
            <a:off x="3198460" y="1893511"/>
            <a:ext cx="201855" cy="192000"/>
          </a:xfrm>
          <a:prstGeom prst="ellipse">
            <a:avLst/>
          </a:prstGeom>
          <a:solidFill>
            <a:srgbClr val="4E84A7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2DFEFAC-B404-1C53-40D0-5A5F60508A4C}"/>
              </a:ext>
            </a:extLst>
          </p:cNvPr>
          <p:cNvSpPr/>
          <p:nvPr/>
        </p:nvSpPr>
        <p:spPr>
          <a:xfrm>
            <a:off x="6199331" y="1893511"/>
            <a:ext cx="201855" cy="192000"/>
          </a:xfrm>
          <a:prstGeom prst="ellipse">
            <a:avLst/>
          </a:prstGeom>
          <a:solidFill>
            <a:srgbClr val="4E84A7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377E094-B6E7-2454-2FDC-028249745FB5}"/>
              </a:ext>
            </a:extLst>
          </p:cNvPr>
          <p:cNvSpPr/>
          <p:nvPr/>
        </p:nvSpPr>
        <p:spPr>
          <a:xfrm>
            <a:off x="9179100" y="1893511"/>
            <a:ext cx="201855" cy="192000"/>
          </a:xfrm>
          <a:prstGeom prst="ellipse">
            <a:avLst/>
          </a:prstGeom>
          <a:solidFill>
            <a:srgbClr val="4E84A7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BF98608-B178-28AE-8551-03F8369644F2}"/>
              </a:ext>
            </a:extLst>
          </p:cNvPr>
          <p:cNvSpPr>
            <a:spLocks/>
          </p:cNvSpPr>
          <p:nvPr/>
        </p:nvSpPr>
        <p:spPr bwMode="auto">
          <a:xfrm>
            <a:off x="386109" y="3354732"/>
            <a:ext cx="1251156" cy="27632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estintäohjelma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2B34084-EE7B-09A3-EAFF-830966D5B687}"/>
              </a:ext>
            </a:extLst>
          </p:cNvPr>
          <p:cNvSpPr>
            <a:spLocks/>
          </p:cNvSpPr>
          <p:nvPr/>
        </p:nvSpPr>
        <p:spPr bwMode="auto">
          <a:xfrm>
            <a:off x="1794564" y="4708337"/>
            <a:ext cx="1251156" cy="27632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konaisturvallisuus-ohjelma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0D95D2BD-A711-5773-B1BF-3E9B672EEFDC}"/>
              </a:ext>
            </a:extLst>
          </p:cNvPr>
          <p:cNvSpPr>
            <a:spLocks/>
          </p:cNvSpPr>
          <p:nvPr/>
        </p:nvSpPr>
        <p:spPr bwMode="auto">
          <a:xfrm>
            <a:off x="1794564" y="3289700"/>
            <a:ext cx="1251156" cy="35910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5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iakaskokemuksen ja osallistumisen ohjelma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66FE63C5-536F-EDEF-18F5-56A1AF6F2750}"/>
              </a:ext>
            </a:extLst>
          </p:cNvPr>
          <p:cNvSpPr>
            <a:spLocks/>
          </p:cNvSpPr>
          <p:nvPr/>
        </p:nvSpPr>
        <p:spPr bwMode="auto">
          <a:xfrm>
            <a:off x="402803" y="4581577"/>
            <a:ext cx="1251156" cy="403086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iakaskokemuksen ja osallistumisen ohjelma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B8431106-349C-6F4D-34DF-94158B9BA668}"/>
              </a:ext>
            </a:extLst>
          </p:cNvPr>
          <p:cNvSpPr>
            <a:spLocks/>
          </p:cNvSpPr>
          <p:nvPr/>
        </p:nvSpPr>
        <p:spPr bwMode="auto">
          <a:xfrm>
            <a:off x="4774185" y="4468703"/>
            <a:ext cx="1251156" cy="27632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imitilaohjelma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7D30AB4A-0021-4310-7D94-A6AD61F42DA1}"/>
              </a:ext>
            </a:extLst>
          </p:cNvPr>
          <p:cNvSpPr>
            <a:spLocks/>
          </p:cNvSpPr>
          <p:nvPr/>
        </p:nvSpPr>
        <p:spPr bwMode="auto">
          <a:xfrm>
            <a:off x="3435776" y="5450896"/>
            <a:ext cx="1182000" cy="27632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tohallinnon muutosohjelma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B9BFE02C-1EF0-E5F1-5CE7-D436AD1FF8F8}"/>
              </a:ext>
            </a:extLst>
          </p:cNvPr>
          <p:cNvSpPr>
            <a:spLocks/>
          </p:cNvSpPr>
          <p:nvPr/>
        </p:nvSpPr>
        <p:spPr bwMode="auto">
          <a:xfrm>
            <a:off x="3343268" y="3013375"/>
            <a:ext cx="1251156" cy="27632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lvelulinjakohtaiset ohjelmat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75E75909-84F6-F75F-94A9-4F2D8C367008}"/>
              </a:ext>
            </a:extLst>
          </p:cNvPr>
          <p:cNvSpPr>
            <a:spLocks/>
          </p:cNvSpPr>
          <p:nvPr/>
        </p:nvSpPr>
        <p:spPr bwMode="auto">
          <a:xfrm>
            <a:off x="6342024" y="3394314"/>
            <a:ext cx="1251156" cy="274318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nkilöstöohjelma</a:t>
            </a: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D067BAA8-C561-0875-19AF-A71999FA8AB7}"/>
              </a:ext>
            </a:extLst>
          </p:cNvPr>
          <p:cNvSpPr>
            <a:spLocks/>
          </p:cNvSpPr>
          <p:nvPr/>
        </p:nvSpPr>
        <p:spPr bwMode="auto">
          <a:xfrm>
            <a:off x="9264670" y="3313446"/>
            <a:ext cx="1251156" cy="329711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udistuvan hallinnon ja päätöksenteon ohjelma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5FD2C1DC-D721-3E1B-7367-E9DA6BE73F2F}"/>
              </a:ext>
            </a:extLst>
          </p:cNvPr>
          <p:cNvSpPr>
            <a:spLocks/>
          </p:cNvSpPr>
          <p:nvPr/>
        </p:nvSpPr>
        <p:spPr bwMode="auto">
          <a:xfrm>
            <a:off x="6344425" y="4928870"/>
            <a:ext cx="1251156" cy="27632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nkilöstöohjelma</a:t>
            </a: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5AF130D8-39A1-9D36-25FB-FEBD8B73DAC6}"/>
              </a:ext>
            </a:extLst>
          </p:cNvPr>
          <p:cNvSpPr>
            <a:spLocks/>
          </p:cNvSpPr>
          <p:nvPr/>
        </p:nvSpPr>
        <p:spPr bwMode="auto">
          <a:xfrm>
            <a:off x="7750206" y="4921910"/>
            <a:ext cx="1251156" cy="27632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nkilöstöohjelma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B4F841A0-FF6D-7997-F04B-752A87DC1247}"/>
              </a:ext>
            </a:extLst>
          </p:cNvPr>
          <p:cNvSpPr>
            <a:spLocks/>
          </p:cNvSpPr>
          <p:nvPr/>
        </p:nvSpPr>
        <p:spPr bwMode="auto">
          <a:xfrm>
            <a:off x="10725977" y="3068365"/>
            <a:ext cx="1251156" cy="255722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eto- ja tiedolla johtaminen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EB4D154B-D43C-F885-9022-5F108088E159}"/>
              </a:ext>
            </a:extLst>
          </p:cNvPr>
          <p:cNvSpPr>
            <a:spLocks/>
          </p:cNvSpPr>
          <p:nvPr/>
        </p:nvSpPr>
        <p:spPr bwMode="auto">
          <a:xfrm>
            <a:off x="10655133" y="4953429"/>
            <a:ext cx="1251156" cy="364119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rkeakoulujen ja </a:t>
            </a:r>
            <a:r>
              <a:rPr kumimoji="0" lang="fi-FI" sz="75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VA</a:t>
            </a: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n yhteistyöohjelma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6B523A71-5AE9-0E8D-6574-A71ADBE5648B}"/>
              </a:ext>
            </a:extLst>
          </p:cNvPr>
          <p:cNvSpPr>
            <a:spLocks/>
          </p:cNvSpPr>
          <p:nvPr/>
        </p:nvSpPr>
        <p:spPr bwMode="auto">
          <a:xfrm>
            <a:off x="10719603" y="5868510"/>
            <a:ext cx="1251156" cy="276325"/>
          </a:xfrm>
          <a:prstGeom prst="roundRect">
            <a:avLst/>
          </a:prstGeom>
          <a:solidFill>
            <a:schemeClr val="accent5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nkintaohjelma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4A298FC-7C2D-AB75-FCDF-035DD5C10405}"/>
              </a:ext>
            </a:extLst>
          </p:cNvPr>
          <p:cNvSpPr>
            <a:spLocks/>
          </p:cNvSpPr>
          <p:nvPr/>
        </p:nvSpPr>
        <p:spPr bwMode="auto">
          <a:xfrm>
            <a:off x="4761606" y="3037121"/>
            <a:ext cx="1251156" cy="27632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lvelulinjakohtaiset ohjelmat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EDBC6A3-051A-F2A6-0485-62BDCE83A8D0}"/>
              </a:ext>
            </a:extLst>
          </p:cNvPr>
          <p:cNvSpPr>
            <a:spLocks/>
          </p:cNvSpPr>
          <p:nvPr/>
        </p:nvSpPr>
        <p:spPr bwMode="auto">
          <a:xfrm>
            <a:off x="3350129" y="4570758"/>
            <a:ext cx="1251156" cy="27632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lvelulinjakohtaiset ohjelmat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10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FCF179A-57FE-4BB7-7E6D-A03F170195BB}"/>
              </a:ext>
            </a:extLst>
          </p:cNvPr>
          <p:cNvSpPr>
            <a:spLocks/>
          </p:cNvSpPr>
          <p:nvPr/>
        </p:nvSpPr>
        <p:spPr bwMode="auto">
          <a:xfrm>
            <a:off x="4774185" y="4797201"/>
            <a:ext cx="1251156" cy="355886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ysDot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lveluiden verkoston suunnitelma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44237190-FE95-0A9D-B77B-789CAB18D5EF}"/>
              </a:ext>
            </a:extLst>
          </p:cNvPr>
          <p:cNvSpPr>
            <a:spLocks/>
          </p:cNvSpPr>
          <p:nvPr/>
        </p:nvSpPr>
        <p:spPr bwMode="auto">
          <a:xfrm>
            <a:off x="3350129" y="4907589"/>
            <a:ext cx="1251156" cy="233460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 ja PirSOT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EB66D8A-5AAA-775D-E1BD-5CA88389E1A7}"/>
              </a:ext>
            </a:extLst>
          </p:cNvPr>
          <p:cNvSpPr>
            <a:spLocks/>
          </p:cNvSpPr>
          <p:nvPr/>
        </p:nvSpPr>
        <p:spPr bwMode="auto">
          <a:xfrm>
            <a:off x="3351746" y="3349219"/>
            <a:ext cx="1251156" cy="276325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FB8AC73D-956E-67BA-1527-7312BECEB7FC}"/>
              </a:ext>
            </a:extLst>
          </p:cNvPr>
          <p:cNvSpPr>
            <a:spLocks/>
          </p:cNvSpPr>
          <p:nvPr/>
        </p:nvSpPr>
        <p:spPr bwMode="auto">
          <a:xfrm>
            <a:off x="10733780" y="3366832"/>
            <a:ext cx="1251156" cy="276325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5B4DFD4-69DA-31D9-728E-67A67214B535}"/>
              </a:ext>
            </a:extLst>
          </p:cNvPr>
          <p:cNvSpPr>
            <a:spLocks/>
          </p:cNvSpPr>
          <p:nvPr/>
        </p:nvSpPr>
        <p:spPr bwMode="auto">
          <a:xfrm>
            <a:off x="4843341" y="5438936"/>
            <a:ext cx="1182000" cy="276325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373AEC5-F11B-A611-78B8-28BDA4DE6A77}"/>
              </a:ext>
            </a:extLst>
          </p:cNvPr>
          <p:cNvSpPr>
            <a:spLocks/>
          </p:cNvSpPr>
          <p:nvPr/>
        </p:nvSpPr>
        <p:spPr bwMode="auto">
          <a:xfrm>
            <a:off x="7733306" y="3399201"/>
            <a:ext cx="1251156" cy="276325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nkilöstöohjelma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47BAF95-9E8D-F44D-B03A-3F97ADD9FA63}"/>
              </a:ext>
            </a:extLst>
          </p:cNvPr>
          <p:cNvSpPr>
            <a:spLocks/>
          </p:cNvSpPr>
          <p:nvPr/>
        </p:nvSpPr>
        <p:spPr>
          <a:xfrm>
            <a:off x="6305953" y="5317548"/>
            <a:ext cx="2738425" cy="4232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marL="0" marR="0" lvl="0" indent="0" algn="ctr" defTabSz="4572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i-FI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87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5. Johtamiskoulutukset ja Pirha-akatemia aloitettu</a:t>
            </a:r>
          </a:p>
        </p:txBody>
      </p:sp>
      <p:sp>
        <p:nvSpPr>
          <p:cNvPr id="6" name="Rectangle: Rounded Corners 81">
            <a:extLst>
              <a:ext uri="{FF2B5EF4-FFF2-40B4-BE49-F238E27FC236}">
                <a16:creationId xmlns:a16="http://schemas.microsoft.com/office/drawing/2014/main" id="{B3862A03-2784-D2C6-D04F-B6FB0C98B9FE}"/>
              </a:ext>
            </a:extLst>
          </p:cNvPr>
          <p:cNvSpPr>
            <a:spLocks/>
          </p:cNvSpPr>
          <p:nvPr/>
        </p:nvSpPr>
        <p:spPr bwMode="auto">
          <a:xfrm>
            <a:off x="4026776" y="6108721"/>
            <a:ext cx="1251156" cy="276325"/>
          </a:xfrm>
          <a:prstGeom prst="roundRect">
            <a:avLst/>
          </a:prstGeom>
          <a:solidFill>
            <a:schemeClr val="accent5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nkintaohjelma</a:t>
            </a:r>
          </a:p>
        </p:txBody>
      </p:sp>
      <p:sp>
        <p:nvSpPr>
          <p:cNvPr id="78" name="L-muoto 77">
            <a:extLst>
              <a:ext uri="{FF2B5EF4-FFF2-40B4-BE49-F238E27FC236}">
                <a16:creationId xmlns:a16="http://schemas.microsoft.com/office/drawing/2014/main" id="{D1E7CF58-0F30-7EBF-122D-6524FC7F7B2D}"/>
              </a:ext>
            </a:extLst>
          </p:cNvPr>
          <p:cNvSpPr/>
          <p:nvPr/>
        </p:nvSpPr>
        <p:spPr>
          <a:xfrm rot="17999126">
            <a:off x="7343120" y="4960377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L-muoto 84">
            <a:extLst>
              <a:ext uri="{FF2B5EF4-FFF2-40B4-BE49-F238E27FC236}">
                <a16:creationId xmlns:a16="http://schemas.microsoft.com/office/drawing/2014/main" id="{EB7C7F73-E3BC-96C5-6739-B71F13483F34}"/>
              </a:ext>
            </a:extLst>
          </p:cNvPr>
          <p:cNvSpPr/>
          <p:nvPr/>
        </p:nvSpPr>
        <p:spPr>
          <a:xfrm rot="17999126">
            <a:off x="4367330" y="5508940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Rectangle: Rounded Corners 23">
            <a:extLst>
              <a:ext uri="{FF2B5EF4-FFF2-40B4-BE49-F238E27FC236}">
                <a16:creationId xmlns:a16="http://schemas.microsoft.com/office/drawing/2014/main" id="{7518D50B-8B90-3BD6-BD53-E55D35E9B549}"/>
              </a:ext>
            </a:extLst>
          </p:cNvPr>
          <p:cNvSpPr>
            <a:spLocks/>
          </p:cNvSpPr>
          <p:nvPr/>
        </p:nvSpPr>
        <p:spPr bwMode="auto">
          <a:xfrm>
            <a:off x="4770245" y="3348403"/>
            <a:ext cx="1251156" cy="276325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</a:t>
            </a:r>
          </a:p>
        </p:txBody>
      </p:sp>
      <p:sp>
        <p:nvSpPr>
          <p:cNvPr id="55" name="Rectangle: Rounded Corners 23">
            <a:extLst>
              <a:ext uri="{FF2B5EF4-FFF2-40B4-BE49-F238E27FC236}">
                <a16:creationId xmlns:a16="http://schemas.microsoft.com/office/drawing/2014/main" id="{A1B1F520-F90D-BCAE-71DB-EA0CC263DDFF}"/>
              </a:ext>
            </a:extLst>
          </p:cNvPr>
          <p:cNvSpPr>
            <a:spLocks/>
          </p:cNvSpPr>
          <p:nvPr/>
        </p:nvSpPr>
        <p:spPr bwMode="auto">
          <a:xfrm>
            <a:off x="6322562" y="4524343"/>
            <a:ext cx="1251156" cy="276325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</a:t>
            </a:r>
          </a:p>
        </p:txBody>
      </p:sp>
      <p:sp>
        <p:nvSpPr>
          <p:cNvPr id="58" name="Rectangle: Rounded Corners 80">
            <a:extLst>
              <a:ext uri="{FF2B5EF4-FFF2-40B4-BE49-F238E27FC236}">
                <a16:creationId xmlns:a16="http://schemas.microsoft.com/office/drawing/2014/main" id="{8C413C56-219D-FC83-F053-8383CC6E4F28}"/>
              </a:ext>
            </a:extLst>
          </p:cNvPr>
          <p:cNvSpPr>
            <a:spLocks/>
          </p:cNvSpPr>
          <p:nvPr/>
        </p:nvSpPr>
        <p:spPr bwMode="auto">
          <a:xfrm>
            <a:off x="9244939" y="6252454"/>
            <a:ext cx="2787194" cy="25439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usi johtajuus</a:t>
            </a:r>
          </a:p>
        </p:txBody>
      </p:sp>
      <p:sp>
        <p:nvSpPr>
          <p:cNvPr id="86" name="Rectangle: Rounded Corners 74">
            <a:extLst>
              <a:ext uri="{FF2B5EF4-FFF2-40B4-BE49-F238E27FC236}">
                <a16:creationId xmlns:a16="http://schemas.microsoft.com/office/drawing/2014/main" id="{D90E95B0-4DD5-0423-681F-51B2BE8D4044}"/>
              </a:ext>
            </a:extLst>
          </p:cNvPr>
          <p:cNvSpPr>
            <a:spLocks/>
          </p:cNvSpPr>
          <p:nvPr/>
        </p:nvSpPr>
        <p:spPr bwMode="auto">
          <a:xfrm>
            <a:off x="9286772" y="4304892"/>
            <a:ext cx="1251156" cy="30665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udistumis- ja innovaatiokyvykkyys</a:t>
            </a:r>
          </a:p>
        </p:txBody>
      </p:sp>
      <p:sp>
        <p:nvSpPr>
          <p:cNvPr id="87" name="Rectangle: Rounded Corners 74">
            <a:extLst>
              <a:ext uri="{FF2B5EF4-FFF2-40B4-BE49-F238E27FC236}">
                <a16:creationId xmlns:a16="http://schemas.microsoft.com/office/drawing/2014/main" id="{221FFAFE-A2B4-60A4-D362-79DA2440ED92}"/>
              </a:ext>
            </a:extLst>
          </p:cNvPr>
          <p:cNvSpPr>
            <a:spLocks/>
          </p:cNvSpPr>
          <p:nvPr/>
        </p:nvSpPr>
        <p:spPr bwMode="auto">
          <a:xfrm>
            <a:off x="10725977" y="4304892"/>
            <a:ext cx="1251156" cy="30665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udistumis- ja innovaatiokyvykkyys</a:t>
            </a:r>
          </a:p>
        </p:txBody>
      </p:sp>
      <p:sp>
        <p:nvSpPr>
          <p:cNvPr id="88" name="Rectangle: Rounded Corners 74">
            <a:extLst>
              <a:ext uri="{FF2B5EF4-FFF2-40B4-BE49-F238E27FC236}">
                <a16:creationId xmlns:a16="http://schemas.microsoft.com/office/drawing/2014/main" id="{ABE1DF5A-BF6A-ED1C-FD83-C51664257F88}"/>
              </a:ext>
            </a:extLst>
          </p:cNvPr>
          <p:cNvSpPr>
            <a:spLocks/>
          </p:cNvSpPr>
          <p:nvPr/>
        </p:nvSpPr>
        <p:spPr bwMode="auto">
          <a:xfrm>
            <a:off x="9289478" y="4973524"/>
            <a:ext cx="1251156" cy="30665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udistumis- ja innovaatiokyvykkyys</a:t>
            </a:r>
          </a:p>
        </p:txBody>
      </p:sp>
      <p:sp>
        <p:nvSpPr>
          <p:cNvPr id="89" name="Rectangle: Rounded Corners 74">
            <a:extLst>
              <a:ext uri="{FF2B5EF4-FFF2-40B4-BE49-F238E27FC236}">
                <a16:creationId xmlns:a16="http://schemas.microsoft.com/office/drawing/2014/main" id="{84147D85-4B12-32E9-DA20-E3FF91E288A9}"/>
              </a:ext>
            </a:extLst>
          </p:cNvPr>
          <p:cNvSpPr>
            <a:spLocks/>
          </p:cNvSpPr>
          <p:nvPr/>
        </p:nvSpPr>
        <p:spPr bwMode="auto">
          <a:xfrm>
            <a:off x="9304789" y="5853344"/>
            <a:ext cx="1251156" cy="30665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udistumis- ja innovaatiokyvykkyys</a:t>
            </a:r>
          </a:p>
        </p:txBody>
      </p:sp>
      <p:sp>
        <p:nvSpPr>
          <p:cNvPr id="90" name="Rectangle: Rounded Corners 74">
            <a:extLst>
              <a:ext uri="{FF2B5EF4-FFF2-40B4-BE49-F238E27FC236}">
                <a16:creationId xmlns:a16="http://schemas.microsoft.com/office/drawing/2014/main" id="{E148CF1C-166E-A4C1-58F5-3608966D0B34}"/>
              </a:ext>
            </a:extLst>
          </p:cNvPr>
          <p:cNvSpPr>
            <a:spLocks/>
          </p:cNvSpPr>
          <p:nvPr/>
        </p:nvSpPr>
        <p:spPr bwMode="auto">
          <a:xfrm>
            <a:off x="6342024" y="3022693"/>
            <a:ext cx="1251156" cy="30665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Inter Light" panose="020B0604020202020204" charset="0"/>
                <a:ea typeface="+mn-ea"/>
                <a:cs typeface="Arial"/>
              </a:rPr>
              <a:t>Henkilöstön kehittäminen ja työnantajuus</a:t>
            </a:r>
            <a:endParaRPr kumimoji="0" lang="fi-FI" sz="7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1" name="Rectangle: Rounded Corners 74">
            <a:extLst>
              <a:ext uri="{FF2B5EF4-FFF2-40B4-BE49-F238E27FC236}">
                <a16:creationId xmlns:a16="http://schemas.microsoft.com/office/drawing/2014/main" id="{ED7A17AB-16BB-D912-E56A-9259F3D7D05B}"/>
              </a:ext>
            </a:extLst>
          </p:cNvPr>
          <p:cNvSpPr>
            <a:spLocks/>
          </p:cNvSpPr>
          <p:nvPr/>
        </p:nvSpPr>
        <p:spPr bwMode="auto">
          <a:xfrm>
            <a:off x="7724810" y="4518574"/>
            <a:ext cx="1251156" cy="30665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Inter Light" panose="020B0604020202020204" charset="0"/>
                <a:ea typeface="+mn-ea"/>
                <a:cs typeface="Arial"/>
              </a:rPr>
              <a:t>Henkilöstön kehittäminen ja työnantajuus</a:t>
            </a:r>
            <a:endParaRPr kumimoji="0" lang="fi-FI" sz="7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0" name="L-muoto 79">
            <a:extLst>
              <a:ext uri="{FF2B5EF4-FFF2-40B4-BE49-F238E27FC236}">
                <a16:creationId xmlns:a16="http://schemas.microsoft.com/office/drawing/2014/main" id="{E5833ED7-54B9-EEE7-E529-8B64D627AE3B}"/>
              </a:ext>
            </a:extLst>
          </p:cNvPr>
          <p:cNvSpPr/>
          <p:nvPr/>
        </p:nvSpPr>
        <p:spPr>
          <a:xfrm rot="17999126">
            <a:off x="8732158" y="4961519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L-muoto 33">
            <a:extLst>
              <a:ext uri="{FF2B5EF4-FFF2-40B4-BE49-F238E27FC236}">
                <a16:creationId xmlns:a16="http://schemas.microsoft.com/office/drawing/2014/main" id="{45BDF06F-7825-FC54-306C-2319620B5591}"/>
              </a:ext>
            </a:extLst>
          </p:cNvPr>
          <p:cNvSpPr/>
          <p:nvPr/>
        </p:nvSpPr>
        <p:spPr>
          <a:xfrm rot="17999126">
            <a:off x="7338327" y="3416116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L-muoto 91">
            <a:extLst>
              <a:ext uri="{FF2B5EF4-FFF2-40B4-BE49-F238E27FC236}">
                <a16:creationId xmlns:a16="http://schemas.microsoft.com/office/drawing/2014/main" id="{B76E5976-F377-9904-FACE-4F145E849FA5}"/>
              </a:ext>
            </a:extLst>
          </p:cNvPr>
          <p:cNvSpPr/>
          <p:nvPr/>
        </p:nvSpPr>
        <p:spPr>
          <a:xfrm rot="17999126">
            <a:off x="8729965" y="3423813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: Rounded Corners 21">
            <a:extLst>
              <a:ext uri="{FF2B5EF4-FFF2-40B4-BE49-F238E27FC236}">
                <a16:creationId xmlns:a16="http://schemas.microsoft.com/office/drawing/2014/main" id="{178EBE98-B768-FDE9-CF3F-69B30C2A1F96}"/>
              </a:ext>
            </a:extLst>
          </p:cNvPr>
          <p:cNvSpPr>
            <a:spLocks/>
          </p:cNvSpPr>
          <p:nvPr/>
        </p:nvSpPr>
        <p:spPr bwMode="auto">
          <a:xfrm>
            <a:off x="3399983" y="1142772"/>
            <a:ext cx="1219782" cy="285574"/>
          </a:xfrm>
          <a:prstGeom prst="roundRect">
            <a:avLst/>
          </a:prstGeom>
          <a:solidFill>
            <a:schemeClr val="accent1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teginen ohjelma</a:t>
            </a:r>
          </a:p>
        </p:txBody>
      </p:sp>
      <p:sp>
        <p:nvSpPr>
          <p:cNvPr id="63" name="Rectangle: Rounded Corners 30">
            <a:extLst>
              <a:ext uri="{FF2B5EF4-FFF2-40B4-BE49-F238E27FC236}">
                <a16:creationId xmlns:a16="http://schemas.microsoft.com/office/drawing/2014/main" id="{A70DCF53-553E-6248-2629-E2AD11B2977E}"/>
              </a:ext>
            </a:extLst>
          </p:cNvPr>
          <p:cNvSpPr>
            <a:spLocks/>
          </p:cNvSpPr>
          <p:nvPr/>
        </p:nvSpPr>
        <p:spPr bwMode="auto">
          <a:xfrm>
            <a:off x="10492175" y="1121100"/>
            <a:ext cx="1220400" cy="29238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uut ohjelmat</a:t>
            </a:r>
            <a:endParaRPr kumimoji="0" lang="fi-FI" sz="9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Rectangle: Rounded Corners 31">
            <a:extLst>
              <a:ext uri="{FF2B5EF4-FFF2-40B4-BE49-F238E27FC236}">
                <a16:creationId xmlns:a16="http://schemas.microsoft.com/office/drawing/2014/main" id="{1BDE51BA-E72C-9DB3-F854-667CE202163F}"/>
              </a:ext>
            </a:extLst>
          </p:cNvPr>
          <p:cNvSpPr>
            <a:spLocks/>
          </p:cNvSpPr>
          <p:nvPr/>
        </p:nvSpPr>
        <p:spPr bwMode="auto">
          <a:xfrm>
            <a:off x="4683618" y="1152975"/>
            <a:ext cx="1220400" cy="287278"/>
          </a:xfrm>
          <a:prstGeom prst="roundRect">
            <a:avLst/>
          </a:prstGeom>
          <a:solidFill>
            <a:schemeClr val="bg2"/>
          </a:solidFill>
          <a:ln w="6350" cap="flat" cmpd="sng" algn="ctr">
            <a:solidFill>
              <a:schemeClr val="tx1">
                <a:lumMod val="100000"/>
              </a:schemeClr>
            </a:solidFill>
            <a:prstDash val="dash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tionhallinnon investointihanke</a:t>
            </a:r>
          </a:p>
        </p:txBody>
      </p:sp>
      <p:sp>
        <p:nvSpPr>
          <p:cNvPr id="72" name="Tekstiruutu 71">
            <a:extLst>
              <a:ext uri="{FF2B5EF4-FFF2-40B4-BE49-F238E27FC236}">
                <a16:creationId xmlns:a16="http://schemas.microsoft.com/office/drawing/2014/main" id="{9D728A34-F30D-9A0F-A6C8-779400A0EA09}"/>
              </a:ext>
            </a:extLst>
          </p:cNvPr>
          <p:cNvSpPr txBox="1"/>
          <p:nvPr/>
        </p:nvSpPr>
        <p:spPr>
          <a:xfrm>
            <a:off x="6035661" y="1109914"/>
            <a:ext cx="14793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i-FI"/>
            </a:defPPr>
            <a:lvl1pPr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uevaltuusto:</a:t>
            </a:r>
          </a:p>
        </p:txBody>
      </p:sp>
      <p:sp>
        <p:nvSpPr>
          <p:cNvPr id="74" name="Tekstiruutu 73">
            <a:extLst>
              <a:ext uri="{FF2B5EF4-FFF2-40B4-BE49-F238E27FC236}">
                <a16:creationId xmlns:a16="http://schemas.microsoft.com/office/drawing/2014/main" id="{ED36050E-1B74-C2F7-B68A-87AFB9BAF19B}"/>
              </a:ext>
            </a:extLst>
          </p:cNvPr>
          <p:cNvSpPr txBox="1"/>
          <p:nvPr/>
        </p:nvSpPr>
        <p:spPr>
          <a:xfrm>
            <a:off x="8856094" y="1131261"/>
            <a:ext cx="171046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ranhaltijajohto:</a:t>
            </a:r>
          </a:p>
        </p:txBody>
      </p:sp>
      <p:sp>
        <p:nvSpPr>
          <p:cNvPr id="75" name="Rectangle: Rounded Corners 21">
            <a:extLst>
              <a:ext uri="{FF2B5EF4-FFF2-40B4-BE49-F238E27FC236}">
                <a16:creationId xmlns:a16="http://schemas.microsoft.com/office/drawing/2014/main" id="{099F0E0F-C8A4-73BD-EC5F-CB7BFB398601}"/>
              </a:ext>
            </a:extLst>
          </p:cNvPr>
          <p:cNvSpPr>
            <a:spLocks/>
          </p:cNvSpPr>
          <p:nvPr/>
        </p:nvSpPr>
        <p:spPr bwMode="auto">
          <a:xfrm>
            <a:off x="7455556" y="1117168"/>
            <a:ext cx="1220400" cy="294021"/>
          </a:xfrm>
          <a:prstGeom prst="roundRect">
            <a:avLst/>
          </a:prstGeom>
          <a:solidFill>
            <a:schemeClr val="accent5"/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teginen ohjelma</a:t>
            </a:r>
          </a:p>
        </p:txBody>
      </p:sp>
      <p:sp>
        <p:nvSpPr>
          <p:cNvPr id="79" name="Rectangle: Rounded Corners 80">
            <a:extLst>
              <a:ext uri="{FF2B5EF4-FFF2-40B4-BE49-F238E27FC236}">
                <a16:creationId xmlns:a16="http://schemas.microsoft.com/office/drawing/2014/main" id="{6AAEDA6A-CC33-BBB5-A8EF-CC52517D6490}"/>
              </a:ext>
            </a:extLst>
          </p:cNvPr>
          <p:cNvSpPr>
            <a:spLocks/>
          </p:cNvSpPr>
          <p:nvPr/>
        </p:nvSpPr>
        <p:spPr bwMode="auto">
          <a:xfrm>
            <a:off x="3395848" y="1494519"/>
            <a:ext cx="1223917" cy="28646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6350" cap="flat" cmpd="sng" algn="ctr">
            <a:solidFill>
              <a:schemeClr val="tx1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udistusohjelma</a:t>
            </a:r>
          </a:p>
        </p:txBody>
      </p:sp>
      <p:sp>
        <p:nvSpPr>
          <p:cNvPr id="96" name="Tekstiruutu 95">
            <a:extLst>
              <a:ext uri="{FF2B5EF4-FFF2-40B4-BE49-F238E27FC236}">
                <a16:creationId xmlns:a16="http://schemas.microsoft.com/office/drawing/2014/main" id="{D94EF57A-5FFD-7A89-DC74-CA62066EED33}"/>
              </a:ext>
            </a:extLst>
          </p:cNvPr>
          <p:cNvSpPr txBox="1"/>
          <p:nvPr/>
        </p:nvSpPr>
        <p:spPr>
          <a:xfrm>
            <a:off x="206626" y="1007941"/>
            <a:ext cx="19510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hjelmien päätöksenteko: </a:t>
            </a:r>
          </a:p>
        </p:txBody>
      </p:sp>
      <p:sp>
        <p:nvSpPr>
          <p:cNvPr id="99" name="L-muoto 98">
            <a:extLst>
              <a:ext uri="{FF2B5EF4-FFF2-40B4-BE49-F238E27FC236}">
                <a16:creationId xmlns:a16="http://schemas.microsoft.com/office/drawing/2014/main" id="{AA10B5F8-E1A4-6458-DD19-EF9629753B65}"/>
              </a:ext>
            </a:extLst>
          </p:cNvPr>
          <p:cNvSpPr/>
          <p:nvPr/>
        </p:nvSpPr>
        <p:spPr>
          <a:xfrm rot="17999126">
            <a:off x="2947702" y="1381401"/>
            <a:ext cx="276044" cy="94779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kstiruutu 17">
            <a:extLst>
              <a:ext uri="{FF2B5EF4-FFF2-40B4-BE49-F238E27FC236}">
                <a16:creationId xmlns:a16="http://schemas.microsoft.com/office/drawing/2014/main" id="{502B3422-C058-FCF8-AC5E-34CA0F323313}"/>
              </a:ext>
            </a:extLst>
          </p:cNvPr>
          <p:cNvSpPr txBox="1"/>
          <p:nvPr/>
        </p:nvSpPr>
        <p:spPr>
          <a:xfrm>
            <a:off x="1897939" y="1108496"/>
            <a:ext cx="13680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uehallitus:</a:t>
            </a:r>
          </a:p>
        </p:txBody>
      </p:sp>
      <p:sp>
        <p:nvSpPr>
          <p:cNvPr id="22" name="Tekstiruutu 21">
            <a:extLst>
              <a:ext uri="{FF2B5EF4-FFF2-40B4-BE49-F238E27FC236}">
                <a16:creationId xmlns:a16="http://schemas.microsoft.com/office/drawing/2014/main" id="{CB3D1D9B-2CE7-C492-537F-26A040CA040E}"/>
              </a:ext>
            </a:extLst>
          </p:cNvPr>
          <p:cNvSpPr txBox="1"/>
          <p:nvPr/>
        </p:nvSpPr>
        <p:spPr>
          <a:xfrm>
            <a:off x="2420142" y="1382984"/>
            <a:ext cx="79176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Hyväksytty</a:t>
            </a:r>
          </a:p>
        </p:txBody>
      </p:sp>
      <p:sp>
        <p:nvSpPr>
          <p:cNvPr id="30" name="Tekstiruutu 29">
            <a:extLst>
              <a:ext uri="{FF2B5EF4-FFF2-40B4-BE49-F238E27FC236}">
                <a16:creationId xmlns:a16="http://schemas.microsoft.com/office/drawing/2014/main" id="{990DD3B0-2490-BB5F-E294-B038F0BF6DED}"/>
              </a:ext>
            </a:extLst>
          </p:cNvPr>
          <p:cNvSpPr txBox="1"/>
          <p:nvPr/>
        </p:nvSpPr>
        <p:spPr>
          <a:xfrm>
            <a:off x="5360142" y="6505676"/>
            <a:ext cx="6840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ppu 2: Hoitoon pikaisesti Pirkanmaalla uusilla toimintamalleilla, Suomen kestävän kasvun ohjelma (RRP) rahoitu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rsote: Tulevaisuuden sote-keskus – ohjelma (STM) </a:t>
            </a:r>
          </a:p>
        </p:txBody>
      </p:sp>
      <p:sp>
        <p:nvSpPr>
          <p:cNvPr id="31" name="L-muoto 30">
            <a:extLst>
              <a:ext uri="{FF2B5EF4-FFF2-40B4-BE49-F238E27FC236}">
                <a16:creationId xmlns:a16="http://schemas.microsoft.com/office/drawing/2014/main" id="{11781F93-DB3D-0082-0453-9465084E4CEA}"/>
              </a:ext>
            </a:extLst>
          </p:cNvPr>
          <p:cNvSpPr/>
          <p:nvPr/>
        </p:nvSpPr>
        <p:spPr>
          <a:xfrm rot="17999126">
            <a:off x="1260495" y="4372857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L-muoto 31">
            <a:extLst>
              <a:ext uri="{FF2B5EF4-FFF2-40B4-BE49-F238E27FC236}">
                <a16:creationId xmlns:a16="http://schemas.microsoft.com/office/drawing/2014/main" id="{29D10A90-C7BF-43CB-50BB-DCC754D01012}"/>
              </a:ext>
            </a:extLst>
          </p:cNvPr>
          <p:cNvSpPr/>
          <p:nvPr/>
        </p:nvSpPr>
        <p:spPr>
          <a:xfrm rot="17999126">
            <a:off x="1323953" y="3189270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L-muoto 32">
            <a:extLst>
              <a:ext uri="{FF2B5EF4-FFF2-40B4-BE49-F238E27FC236}">
                <a16:creationId xmlns:a16="http://schemas.microsoft.com/office/drawing/2014/main" id="{993DFB53-666F-154E-77DD-CAEAC3485E66}"/>
              </a:ext>
            </a:extLst>
          </p:cNvPr>
          <p:cNvSpPr/>
          <p:nvPr/>
        </p:nvSpPr>
        <p:spPr>
          <a:xfrm rot="17999126">
            <a:off x="2716724" y="3068627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L-muoto 36">
            <a:extLst>
              <a:ext uri="{FF2B5EF4-FFF2-40B4-BE49-F238E27FC236}">
                <a16:creationId xmlns:a16="http://schemas.microsoft.com/office/drawing/2014/main" id="{92D15C0B-48D0-D6AB-EEED-A546D4A6345E}"/>
              </a:ext>
            </a:extLst>
          </p:cNvPr>
          <p:cNvSpPr/>
          <p:nvPr/>
        </p:nvSpPr>
        <p:spPr>
          <a:xfrm rot="17999126">
            <a:off x="11697487" y="2964842"/>
            <a:ext cx="372996" cy="111060"/>
          </a:xfrm>
          <a:prstGeom prst="corner">
            <a:avLst/>
          </a:prstGeom>
          <a:solidFill>
            <a:srgbClr val="60C06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7957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29A9108-D180-4E1D-9721-4AB61420034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74713" y="2276475"/>
            <a:ext cx="5976937" cy="23050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4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Inter" panose="02000503000000020004" pitchFamily="2" charset="0"/>
                <a:cs typeface="+mn-cs"/>
              </a:rPr>
              <a:t>Pirkanmaan hyvinvointialueen lakisääteiset hyvinvointisuunnitelmat</a:t>
            </a:r>
          </a:p>
        </p:txBody>
      </p:sp>
    </p:spTree>
    <p:extLst>
      <p:ext uri="{BB962C8B-B14F-4D97-AF65-F5344CB8AC3E}">
        <p14:creationId xmlns:p14="http://schemas.microsoft.com/office/powerpoint/2010/main" val="13855173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F33144CA-DCCD-F7AC-FE97-D9B01ADBA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52" y="299798"/>
            <a:ext cx="5976616" cy="923925"/>
          </a:xfrm>
        </p:spPr>
        <p:txBody>
          <a:bodyPr/>
          <a:lstStyle/>
          <a:p>
            <a:r>
              <a:rPr lang="fi-FI" sz="2000" dirty="0"/>
              <a:t>Alueelliset lakisääteiset hyvinvointisuunnitelmat</a:t>
            </a:r>
          </a:p>
        </p:txBody>
      </p:sp>
      <p:sp>
        <p:nvSpPr>
          <p:cNvPr id="5" name="Sisällön paikkamerkki 4">
            <a:extLst>
              <a:ext uri="{FF2B5EF4-FFF2-40B4-BE49-F238E27FC236}">
                <a16:creationId xmlns:a16="http://schemas.microsoft.com/office/drawing/2014/main" id="{E1ECE04D-04A5-1FAD-23EF-3DE6A5D83CE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888088" y="1929522"/>
            <a:ext cx="4680520" cy="3155662"/>
          </a:xfrm>
        </p:spPr>
        <p:txBody>
          <a:bodyPr/>
          <a:lstStyle/>
          <a:p>
            <a:r>
              <a:rPr lang="fi-FI" sz="2000" dirty="0"/>
              <a:t>Pirkanmaan alueelliset lakisääteiset hyvinvoinnin ja terveyden edistämisen asiakirjat muodostavat                 yhdessä kokonaisuuden pirkanmaalaisten                           hyvinvoinnin ja terveyden edistämisen toimeenpanosuunnitelmaksi.</a:t>
            </a:r>
          </a:p>
          <a:p>
            <a:r>
              <a:rPr lang="fi-FI" sz="2000" dirty="0"/>
              <a:t>Asiakirjoilla on yhteiset painopisteet ja tavoitteet, mutta muuten ne ovat itsenäisiä asiakirjoja.</a:t>
            </a:r>
          </a:p>
        </p:txBody>
      </p:sp>
      <p:graphicFrame>
        <p:nvGraphicFramePr>
          <p:cNvPr id="7" name="Kaaviokuva 6">
            <a:extLst>
              <a:ext uri="{FF2B5EF4-FFF2-40B4-BE49-F238E27FC236}">
                <a16:creationId xmlns:a16="http://schemas.microsoft.com/office/drawing/2014/main" id="{6132F9F5-34FB-1F7E-6C8E-C5E43D247858}"/>
              </a:ext>
            </a:extLst>
          </p:cNvPr>
          <p:cNvGraphicFramePr/>
          <p:nvPr/>
        </p:nvGraphicFramePr>
        <p:xfrm>
          <a:off x="911424" y="1628800"/>
          <a:ext cx="3847976" cy="40054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796224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9BCF9C97-D503-C51A-C27B-47271A9B4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778" y="189262"/>
            <a:ext cx="11228387" cy="647353"/>
          </a:xfrm>
        </p:spPr>
        <p:txBody>
          <a:bodyPr anchor="t"/>
          <a:lstStyle/>
          <a:p>
            <a:r>
              <a:rPr lang="fi-FI" sz="1200" dirty="0"/>
              <a:t>Pirkanmaan alueellinen hyvinvointikertomus ja –suunnitelmat</a:t>
            </a:r>
            <a:br>
              <a:rPr lang="fi-FI" sz="1200" dirty="0"/>
            </a:br>
            <a:br>
              <a:rPr lang="fi-FI" sz="1800" dirty="0"/>
            </a:br>
            <a:r>
              <a:rPr lang="fi-FI" sz="1800" dirty="0"/>
              <a:t>Asiakirjoilla on yhteiset väestön hyvinvointia ja terveyttä edistävät painopisteet ja tavoitteet </a:t>
            </a:r>
          </a:p>
        </p:txBody>
      </p:sp>
      <p:graphicFrame>
        <p:nvGraphicFramePr>
          <p:cNvPr id="7" name="Taulukko 6">
            <a:extLst>
              <a:ext uri="{FF2B5EF4-FFF2-40B4-BE49-F238E27FC236}">
                <a16:creationId xmlns:a16="http://schemas.microsoft.com/office/drawing/2014/main" id="{DEA055B3-5386-FD1A-7BAA-EEF5570E2325}"/>
              </a:ext>
            </a:extLst>
          </p:cNvPr>
          <p:cNvGraphicFramePr>
            <a:graphicFrameLocks noGrp="1"/>
          </p:cNvGraphicFramePr>
          <p:nvPr/>
        </p:nvGraphicFramePr>
        <p:xfrm>
          <a:off x="488778" y="980728"/>
          <a:ext cx="10945167" cy="5312950"/>
        </p:xfrm>
        <a:graphic>
          <a:graphicData uri="http://schemas.openxmlformats.org/drawingml/2006/table">
            <a:tbl>
              <a:tblPr firstRow="1" firstCol="1" bandRow="1"/>
              <a:tblGrid>
                <a:gridCol w="3302966">
                  <a:extLst>
                    <a:ext uri="{9D8B030D-6E8A-4147-A177-3AD203B41FA5}">
                      <a16:colId xmlns:a16="http://schemas.microsoft.com/office/drawing/2014/main" val="275112501"/>
                    </a:ext>
                  </a:extLst>
                </a:gridCol>
                <a:gridCol w="7642201">
                  <a:extLst>
                    <a:ext uri="{9D8B030D-6E8A-4147-A177-3AD203B41FA5}">
                      <a16:colId xmlns:a16="http://schemas.microsoft.com/office/drawing/2014/main" val="370644471"/>
                    </a:ext>
                  </a:extLst>
                </a:gridCol>
              </a:tblGrid>
              <a:tr h="2250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inopiste</a:t>
                      </a:r>
                      <a:endParaRPr lang="fi-FI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voite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999962"/>
                  </a:ext>
                </a:extLst>
              </a:tr>
              <a:tr h="423047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Yksilöllisten hyvinvointia edistävien valintojen mahdollistaminen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joamme asiakasryhmät huomioiden eri tavoin, ymmärrettävästi ja saavutettavasti tietoa hyvinvointia edistävistä valinnoista ja helpotamme niiden tekemistä arjen ympäristössä </a:t>
                      </a: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1349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i-FI" sz="10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utumme riskitekijöihin varhaisessa vaiheessa (tunnistaminen, puheeksi ottaminen, koulutus ja tieto, toimintamallit, vastuut)</a:t>
                      </a: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7562892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rjoamme ja kehitämme matalan kynnyksen ohjausta ja neuvontaa </a:t>
                      </a: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ekä edistämme saavutettavien hyvinvointia tukevien palveluiden tarjonnan kehittymistä koko hyvinvointialueella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1791989"/>
                  </a:ext>
                </a:extLst>
              </a:tr>
              <a:tr h="323252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Liikkumisen ja aktiivisuuden edistäminen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hdollistamme saavutettavaa ja esteetöntä liikkumista ja kulttuurista osallistumista sekä  tuemme arkiaktiivisuutta </a:t>
                      </a: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6140550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adimme alueellisen liikuntaneuvonnan ja -ohjauksen prosessin hyvinvointialueen ja kuntien yhteistyönä </a:t>
                      </a: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ekä otamme käyttöön kulttuurihyvinvoinnin palvelutarjottimen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75722"/>
                  </a:ext>
                </a:extLst>
              </a:tr>
              <a:tr h="326775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yvinvointialueen kaikissa toimipisteissä tunnistamme, otamme puheeksi  ja ohjaamme liikuntaneuvontaan sekä hyvinvointia tukevien kulttuuripalvelujen pariin</a:t>
                      </a: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5746" marR="45746" marT="0" marB="0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653056"/>
                  </a:ext>
                </a:extLst>
              </a:tr>
              <a:tr h="321297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Mielen hyvinvoinnin edistäminen ja tukeminen</a:t>
                      </a:r>
                      <a:endParaRPr lang="fi-FI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AF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Vahvistamme mielen hyvinvointia tukevien toimintamallien käyttöä sekä mielenhyvinvointia tukevaa osaamista </a:t>
                      </a: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ikessa toiminnassa  </a:t>
                      </a: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206281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hitämme matalan kynnyksen palveluita ja lisäämme niiden saavutettavuutta  </a:t>
                      </a: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9474276"/>
                  </a:ext>
                </a:extLst>
              </a:tr>
              <a:tr h="109641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/>
                        </a:rPr>
                        <a:t>Tuemme pirkanmaalaisia tekemään arjessa päihteettömyyttä tukevia valintoja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46294"/>
                  </a:ext>
                </a:extLst>
              </a:tr>
              <a:tr h="321297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Osallisuuden ja yhteisöllisyyden lisääminen</a:t>
                      </a:r>
                      <a:endParaRPr lang="fi-FI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hitämme osallisuuden ja yhteisöllisyyden rakenteita, toimintatapoja, vaikuttamiskanavia, eri väestöryhmien osallisuuteen liittyvää tiedonkeruuta sekä saavutettavaa viestintää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927542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emme pirkanmaalaisia osallistumaan oman ja lähiyhteisönsä hyvinvoinnin edistämiseen </a:t>
                      </a: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 kehitämme yhdessä osallistumisen kynnystä madaltavia toimintatapoja.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8262221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emme yhteistyötä eri järjestöjen kanssa osallisuuden ja yhteisöllisyyden lisäämiseksi.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386148"/>
                  </a:ext>
                </a:extLst>
              </a:tr>
              <a:tr h="321297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 Arjen turvallisuuden lisääminen ja hyvinvointia edistävä elinympäristö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2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fi-FI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omme hyvinvointia ja terveyttä edistäviä turvallisia lähiympäristöjä yhteistyössä eri toimijoiden kanssa sekä vahvistamme kiusaamisen aktiivista ehkäisyä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5130882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nnistamme väkivaltariskin ja hyödynnämme monialaista arviointia sekä konsultaatio- ja tukirakenteita</a:t>
                      </a:r>
                      <a:endParaRPr lang="fi-FI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3148902"/>
                  </a:ext>
                </a:extLst>
              </a:tr>
              <a:tr h="321297">
                <a:tc vMerge="1"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fi-FI" sz="10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äämme yhteistyötä pelastuslaitoksen, hyvinvointialueen sote-puolen ja kuntien välille, jotta riskien ennakointi ja turvallisuustaso alueella paranee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i-FI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5746" marR="4574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9876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6698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kstiruutu 10">
            <a:extLst>
              <a:ext uri="{FF2B5EF4-FFF2-40B4-BE49-F238E27FC236}">
                <a16:creationId xmlns:a16="http://schemas.microsoft.com/office/drawing/2014/main" id="{9E878F1C-D6BD-1B95-075C-0A8DB50E36EF}"/>
              </a:ext>
            </a:extLst>
          </p:cNvPr>
          <p:cNvSpPr txBox="1"/>
          <p:nvPr/>
        </p:nvSpPr>
        <p:spPr>
          <a:xfrm>
            <a:off x="263352" y="476672"/>
            <a:ext cx="237626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srgbClr val="72146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imerkki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srgbClr val="72146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imeenpanosuunnitelma arviointimenettelyineen alueellisen HYTE-koordinaation toimenpiteistä alueellisten hyvinvointia ja terveyttä edistävien tavoitteiden saavuttamiseksi</a:t>
            </a:r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B78650C8-0EC5-85BE-1E8B-E5C260BD2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3712" y="176029"/>
            <a:ext cx="7344816" cy="650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915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Pirkanmaan hyvinvointialue_perus">
  <a:themeElements>
    <a:clrScheme name="PHA_2022">
      <a:dk1>
        <a:srgbClr val="000000"/>
      </a:dk1>
      <a:lt1>
        <a:srgbClr val="FFFFFF"/>
      </a:lt1>
      <a:dk2>
        <a:srgbClr val="721465"/>
      </a:dk2>
      <a:lt2>
        <a:srgbClr val="FFDEE6"/>
      </a:lt2>
      <a:accent1>
        <a:srgbClr val="10285E"/>
      </a:accent1>
      <a:accent2>
        <a:srgbClr val="FF8C00"/>
      </a:accent2>
      <a:accent3>
        <a:srgbClr val="F4D11F"/>
      </a:accent3>
      <a:accent4>
        <a:srgbClr val="FF5982"/>
      </a:accent4>
      <a:accent5>
        <a:srgbClr val="9F93D8"/>
      </a:accent5>
      <a:accent6>
        <a:srgbClr val="31A7D7"/>
      </a:accent6>
      <a:hlink>
        <a:srgbClr val="284A96"/>
      </a:hlink>
      <a:folHlink>
        <a:srgbClr val="284A9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Hienovaraisen yhtenäin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irkanmaan_hyvinvointialue_PP-malli.potx" id="{215781E0-82AC-4177-9990-5928CCCFB862}" vid="{84433AC9-32E8-4852-9E10-5A5822690FC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4</TotalTime>
  <Words>1258</Words>
  <Application>Microsoft Office PowerPoint</Application>
  <PresentationFormat>Laajakuva</PresentationFormat>
  <Paragraphs>219</Paragraphs>
  <Slides>18</Slides>
  <Notes>3</Notes>
  <HiddenSlides>0</HiddenSlides>
  <MMClips>0</MMClips>
  <ScaleCrop>false</ScaleCrop>
  <HeadingPairs>
    <vt:vector size="8" baseType="variant">
      <vt:variant>
        <vt:lpstr>Käytetyt fontit</vt:lpstr>
      </vt:variant>
      <vt:variant>
        <vt:i4>6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8</vt:i4>
      </vt:variant>
    </vt:vector>
  </HeadingPairs>
  <TitlesOfParts>
    <vt:vector size="26" baseType="lpstr">
      <vt:lpstr>Arial</vt:lpstr>
      <vt:lpstr>Avenir LT Std 65 Medium</vt:lpstr>
      <vt:lpstr>Calibri</vt:lpstr>
      <vt:lpstr>Inter</vt:lpstr>
      <vt:lpstr>Inter Light</vt:lpstr>
      <vt:lpstr>Inter SemiBold</vt:lpstr>
      <vt:lpstr>3_Pirkanmaan hyvinvointialue_perus</vt:lpstr>
      <vt:lpstr>think-cell Slide</vt:lpstr>
      <vt:lpstr>PowerPoint-esitys</vt:lpstr>
      <vt:lpstr>PowerPoint-esitys</vt:lpstr>
      <vt:lpstr>Palveluiden verkoston kehittämisen osakokonaisuudet syksy 2023</vt:lpstr>
      <vt:lpstr>Kuulemiskierrostahoja</vt:lpstr>
      <vt:lpstr>Strategisten ohjelmien päätöksentekoprosessi ja suhde toimeenpano-ohjelmaan</vt:lpstr>
      <vt:lpstr>Pirkanmaan hyvinvointialueen lakisääteiset hyvinvointisuunnitelmat</vt:lpstr>
      <vt:lpstr>Alueelliset lakisääteiset hyvinvointisuunnitelmat</vt:lpstr>
      <vt:lpstr>Pirkanmaan alueellinen hyvinvointikertomus ja –suunnitelmat  Asiakirjoilla on yhteiset väestön hyvinvointia ja terveyttä edistävät painopisteet ja tavoitteet </vt:lpstr>
      <vt:lpstr>PowerPoint-esitys</vt:lpstr>
      <vt:lpstr>PowerPoint-esitys</vt:lpstr>
      <vt:lpstr>Pirkanmaan hyvinvointialueen järjestöavustukset ja järjestöyhteistyö </vt:lpstr>
      <vt:lpstr>PowerPoint-esitys</vt:lpstr>
      <vt:lpstr>Kumppanuusavustukset</vt:lpstr>
      <vt:lpstr>Yleisavustukset</vt:lpstr>
      <vt:lpstr>Kohdeavustukset</vt:lpstr>
      <vt:lpstr>Järjestöavustuksissa kehitteillä</vt:lpstr>
      <vt:lpstr>Muuta ajankohtaista Pirhan järjestöyhteistyöstä</vt:lpstr>
      <vt:lpstr>Kiitos!  Kysymyksiä, kommentteja, keskustelu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Salkoaho Tuukka Eerik</dc:creator>
  <cp:lastModifiedBy>Salkoaho Tuukka Eerik</cp:lastModifiedBy>
  <cp:revision>5</cp:revision>
  <dcterms:created xsi:type="dcterms:W3CDTF">2023-10-02T05:59:57Z</dcterms:created>
  <dcterms:modified xsi:type="dcterms:W3CDTF">2023-10-11T10:32:04Z</dcterms:modified>
</cp:coreProperties>
</file>